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7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8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9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0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1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12.xml" ContentType="application/vnd.openxmlformats-officedocument.theme+xml"/>
  <Override PartName="/ppt/tags/tag5.xml" ContentType="application/vnd.openxmlformats-officedocument.presentationml.tags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79" r:id="rId5"/>
    <p:sldMasterId id="2147483685" r:id="rId6"/>
    <p:sldMasterId id="2147483704" r:id="rId7"/>
    <p:sldMasterId id="2147483727" r:id="rId8"/>
    <p:sldMasterId id="2147483743" r:id="rId9"/>
    <p:sldMasterId id="2147483766" r:id="rId10"/>
    <p:sldMasterId id="2147483773" r:id="rId11"/>
    <p:sldMasterId id="2147483782" r:id="rId12"/>
    <p:sldMasterId id="2147483790" r:id="rId13"/>
    <p:sldMasterId id="2147483798" r:id="rId14"/>
    <p:sldMasterId id="2147483805" r:id="rId15"/>
  </p:sldMasterIdLst>
  <p:notesMasterIdLst>
    <p:notesMasterId r:id="rId36"/>
  </p:notesMasterIdLst>
  <p:sldIdLst>
    <p:sldId id="256" r:id="rId16"/>
    <p:sldId id="2147482503" r:id="rId17"/>
    <p:sldId id="2147482479" r:id="rId18"/>
    <p:sldId id="261" r:id="rId19"/>
    <p:sldId id="2147482518" r:id="rId20"/>
    <p:sldId id="2147482470" r:id="rId21"/>
    <p:sldId id="2147482520" r:id="rId22"/>
    <p:sldId id="2147482420" r:id="rId23"/>
    <p:sldId id="2147482510" r:id="rId24"/>
    <p:sldId id="2147482457" r:id="rId25"/>
    <p:sldId id="2147483647" r:id="rId26"/>
    <p:sldId id="260" r:id="rId27"/>
    <p:sldId id="258" r:id="rId28"/>
    <p:sldId id="2147482502" r:id="rId29"/>
    <p:sldId id="2147482456" r:id="rId30"/>
    <p:sldId id="2147482519" r:id="rId31"/>
    <p:sldId id="2147482509" r:id="rId32"/>
    <p:sldId id="2147482515" r:id="rId33"/>
    <p:sldId id="2145706716" r:id="rId34"/>
    <p:sldId id="2145706714" r:id="rId35"/>
  </p:sldIdLst>
  <p:sldSz cx="20104100" cy="11309350"/>
  <p:notesSz cx="20104100" cy="11309350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5861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0"/>
    <p:restoredTop sz="94660"/>
  </p:normalViewPr>
  <p:slideViewPr>
    <p:cSldViewPr snapToGrid="0">
      <p:cViewPr varScale="1">
        <p:scale>
          <a:sx n="41" d="100"/>
          <a:sy n="41" d="100"/>
        </p:scale>
        <p:origin x="822" y="78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545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slide" Target="slides/slide14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SE MARIA PINILLA VELAZQUEZ" userId="01005d95-6857-40cd-9c1f-40fa144a788f" providerId="ADAL" clId="{DD5A21F8-1529-4031-B5D6-E376186CAE72}"/>
    <pc:docChg chg="modSld">
      <pc:chgData name="JOSE MARIA PINILLA VELAZQUEZ" userId="01005d95-6857-40cd-9c1f-40fa144a788f" providerId="ADAL" clId="{DD5A21F8-1529-4031-B5D6-E376186CAE72}" dt="2024-09-05T08:46:13.823" v="0"/>
      <pc:docMkLst>
        <pc:docMk/>
      </pc:docMkLst>
      <pc:sldChg chg="modSp">
        <pc:chgData name="JOSE MARIA PINILLA VELAZQUEZ" userId="01005d95-6857-40cd-9c1f-40fa144a788f" providerId="ADAL" clId="{DD5A21F8-1529-4031-B5D6-E376186CAE72}" dt="2024-09-05T08:46:13.823" v="0"/>
        <pc:sldMkLst>
          <pc:docMk/>
          <pc:sldMk cId="4073989990" sldId="259"/>
        </pc:sldMkLst>
        <pc:graphicFrameChg chg="mod">
          <ac:chgData name="JOSE MARIA PINILLA VELAZQUEZ" userId="01005d95-6857-40cd-9c1f-40fa144a788f" providerId="ADAL" clId="{DD5A21F8-1529-4031-B5D6-E376186CAE72}" dt="2024-09-05T08:46:13.823" v="0"/>
          <ac:graphicFrameMkLst>
            <pc:docMk/>
            <pc:sldMk cId="4073989990" sldId="259"/>
            <ac:graphicFrameMk id="3" creationId="{FE1D7A5A-B492-9901-90DF-017A1D8E0690}"/>
          </ac:graphicFrameMkLst>
        </pc:graphicFrameChg>
      </pc:sldChg>
    </pc:docChg>
  </pc:docChgLst>
  <pc:docChgLst>
    <pc:chgData name="JOSE MARIA PINILLA VELAZQUEZ" userId="01005d95-6857-40cd-9c1f-40fa144a788f" providerId="ADAL" clId="{1DE9919C-1E74-4DA4-AA4B-9F427E29F6D5}"/>
    <pc:docChg chg="modSld">
      <pc:chgData name="JOSE MARIA PINILLA VELAZQUEZ" userId="01005d95-6857-40cd-9c1f-40fa144a788f" providerId="ADAL" clId="{1DE9919C-1E74-4DA4-AA4B-9F427E29F6D5}" dt="2024-09-11T09:12:00.006" v="2" actId="14100"/>
      <pc:docMkLst>
        <pc:docMk/>
      </pc:docMkLst>
      <pc:sldChg chg="modSp mod">
        <pc:chgData name="JOSE MARIA PINILLA VELAZQUEZ" userId="01005d95-6857-40cd-9c1f-40fa144a788f" providerId="ADAL" clId="{1DE9919C-1E74-4DA4-AA4B-9F427E29F6D5}" dt="2024-09-11T09:12:00.006" v="2" actId="14100"/>
        <pc:sldMkLst>
          <pc:docMk/>
          <pc:sldMk cId="358552129" sldId="2147482479"/>
        </pc:sldMkLst>
        <pc:spChg chg="mod">
          <ac:chgData name="JOSE MARIA PINILLA VELAZQUEZ" userId="01005d95-6857-40cd-9c1f-40fa144a788f" providerId="ADAL" clId="{1DE9919C-1E74-4DA4-AA4B-9F427E29F6D5}" dt="2024-09-11T09:12:00.006" v="2" actId="14100"/>
          <ac:spMkLst>
            <pc:docMk/>
            <pc:sldMk cId="358552129" sldId="2147482479"/>
            <ac:spMk id="6" creationId="{C2C6EF88-A268-AC5B-D081-C053D06A2488}"/>
          </ac:spMkLst>
        </pc:spChg>
      </pc:sldChg>
    </pc:docChg>
  </pc:docChgLst>
  <pc:docChgLst>
    <pc:chgData name="JOSE MARIA PINILLA VELAZQUEZ" userId="01005d95-6857-40cd-9c1f-40fa144a788f" providerId="ADAL" clId="{94275C8A-2F2F-4DF1-9738-91C4019C2A23}"/>
    <pc:docChg chg="modSld">
      <pc:chgData name="JOSE MARIA PINILLA VELAZQUEZ" userId="01005d95-6857-40cd-9c1f-40fa144a788f" providerId="ADAL" clId="{94275C8A-2F2F-4DF1-9738-91C4019C2A23}" dt="2024-09-04T09:59:19.723" v="23" actId="14100"/>
      <pc:docMkLst>
        <pc:docMk/>
      </pc:docMkLst>
      <pc:sldChg chg="modSp mod">
        <pc:chgData name="JOSE MARIA PINILLA VELAZQUEZ" userId="01005d95-6857-40cd-9c1f-40fa144a788f" providerId="ADAL" clId="{94275C8A-2F2F-4DF1-9738-91C4019C2A23}" dt="2024-09-04T09:59:19.723" v="23" actId="14100"/>
        <pc:sldMkLst>
          <pc:docMk/>
          <pc:sldMk cId="57633349" sldId="258"/>
        </pc:sldMkLst>
        <pc:spChg chg="mod">
          <ac:chgData name="JOSE MARIA PINILLA VELAZQUEZ" userId="01005d95-6857-40cd-9c1f-40fa144a788f" providerId="ADAL" clId="{94275C8A-2F2F-4DF1-9738-91C4019C2A23}" dt="2024-09-04T09:59:03.190" v="9" actId="20577"/>
          <ac:spMkLst>
            <pc:docMk/>
            <pc:sldMk cId="57633349" sldId="258"/>
            <ac:spMk id="64" creationId="{53C20FD9-A419-5D93-0724-512BE7CE1065}"/>
          </ac:spMkLst>
        </pc:spChg>
        <pc:spChg chg="mod">
          <ac:chgData name="JOSE MARIA PINILLA VELAZQUEZ" userId="01005d95-6857-40cd-9c1f-40fa144a788f" providerId="ADAL" clId="{94275C8A-2F2F-4DF1-9738-91C4019C2A23}" dt="2024-09-04T09:59:19.723" v="23" actId="14100"/>
          <ac:spMkLst>
            <pc:docMk/>
            <pc:sldMk cId="57633349" sldId="258"/>
            <ac:spMk id="65" creationId="{2038FFEE-9B2F-B881-0AE8-1770618E7273}"/>
          </ac:spMkLst>
        </pc:spChg>
      </pc:sldChg>
    </pc:docChg>
  </pc:docChgLst>
  <pc:docChgLst>
    <pc:chgData name="JOSE MARIA PINILLA VELAZQUEZ" userId="01005d95-6857-40cd-9c1f-40fa144a788f" providerId="ADAL" clId="{896B9F48-B960-4730-AE0B-4C05B801917F}"/>
    <pc:docChg chg="modSld">
      <pc:chgData name="JOSE MARIA PINILLA VELAZQUEZ" userId="01005d95-6857-40cd-9c1f-40fa144a788f" providerId="ADAL" clId="{896B9F48-B960-4730-AE0B-4C05B801917F}" dt="2024-09-12T08:10:51.476" v="319" actId="1035"/>
      <pc:docMkLst>
        <pc:docMk/>
      </pc:docMkLst>
      <pc:sldChg chg="modSp mod">
        <pc:chgData name="JOSE MARIA PINILLA VELAZQUEZ" userId="01005d95-6857-40cd-9c1f-40fa144a788f" providerId="ADAL" clId="{896B9F48-B960-4730-AE0B-4C05B801917F}" dt="2024-09-12T08:10:51.476" v="319" actId="1035"/>
        <pc:sldMkLst>
          <pc:docMk/>
          <pc:sldMk cId="4073989990" sldId="259"/>
        </pc:sldMkLst>
        <pc:spChg chg="mod">
          <ac:chgData name="JOSE MARIA PINILLA VELAZQUEZ" userId="01005d95-6857-40cd-9c1f-40fa144a788f" providerId="ADAL" clId="{896B9F48-B960-4730-AE0B-4C05B801917F}" dt="2024-09-12T08:10:51.476" v="319" actId="1035"/>
          <ac:spMkLst>
            <pc:docMk/>
            <pc:sldMk cId="4073989990" sldId="259"/>
            <ac:spMk id="4" creationId="{F0CFB614-13CA-A0B7-6D77-7EBED4867EE9}"/>
          </ac:spMkLst>
        </pc:spChg>
        <pc:spChg chg="mod">
          <ac:chgData name="JOSE MARIA PINILLA VELAZQUEZ" userId="01005d95-6857-40cd-9c1f-40fa144a788f" providerId="ADAL" clId="{896B9F48-B960-4730-AE0B-4C05B801917F}" dt="2024-09-12T08:10:51.476" v="319" actId="1035"/>
          <ac:spMkLst>
            <pc:docMk/>
            <pc:sldMk cId="4073989990" sldId="259"/>
            <ac:spMk id="5" creationId="{DAE1A1F0-2E00-8406-1518-7F220CB67A98}"/>
          </ac:spMkLst>
        </pc:spChg>
        <pc:spChg chg="mod">
          <ac:chgData name="JOSE MARIA PINILLA VELAZQUEZ" userId="01005d95-6857-40cd-9c1f-40fa144a788f" providerId="ADAL" clId="{896B9F48-B960-4730-AE0B-4C05B801917F}" dt="2024-09-12T08:10:51.476" v="319" actId="1035"/>
          <ac:spMkLst>
            <pc:docMk/>
            <pc:sldMk cId="4073989990" sldId="259"/>
            <ac:spMk id="6" creationId="{DFD218AF-FA1C-A93A-46FA-4F299BD9AB01}"/>
          </ac:spMkLst>
        </pc:spChg>
        <pc:spChg chg="mod">
          <ac:chgData name="JOSE MARIA PINILLA VELAZQUEZ" userId="01005d95-6857-40cd-9c1f-40fa144a788f" providerId="ADAL" clId="{896B9F48-B960-4730-AE0B-4C05B801917F}" dt="2024-09-12T08:10:51.476" v="319" actId="1035"/>
          <ac:spMkLst>
            <pc:docMk/>
            <pc:sldMk cId="4073989990" sldId="259"/>
            <ac:spMk id="7" creationId="{6B822810-6C39-0C48-9D88-9850DDB1527E}"/>
          </ac:spMkLst>
        </pc:spChg>
        <pc:spChg chg="mod">
          <ac:chgData name="JOSE MARIA PINILLA VELAZQUEZ" userId="01005d95-6857-40cd-9c1f-40fa144a788f" providerId="ADAL" clId="{896B9F48-B960-4730-AE0B-4C05B801917F}" dt="2024-09-12T08:10:51.476" v="319" actId="1035"/>
          <ac:spMkLst>
            <pc:docMk/>
            <pc:sldMk cId="4073989990" sldId="259"/>
            <ac:spMk id="8" creationId="{3EAB1101-789F-0D6C-C275-3D61D4DDC221}"/>
          </ac:spMkLst>
        </pc:spChg>
        <pc:spChg chg="mod">
          <ac:chgData name="JOSE MARIA PINILLA VELAZQUEZ" userId="01005d95-6857-40cd-9c1f-40fa144a788f" providerId="ADAL" clId="{896B9F48-B960-4730-AE0B-4C05B801917F}" dt="2024-09-12T08:10:51.476" v="319" actId="1035"/>
          <ac:spMkLst>
            <pc:docMk/>
            <pc:sldMk cId="4073989990" sldId="259"/>
            <ac:spMk id="9" creationId="{005668CA-A249-C429-B861-B2E50EF96F2F}"/>
          </ac:spMkLst>
        </pc:spChg>
        <pc:spChg chg="mod">
          <ac:chgData name="JOSE MARIA PINILLA VELAZQUEZ" userId="01005d95-6857-40cd-9c1f-40fa144a788f" providerId="ADAL" clId="{896B9F48-B960-4730-AE0B-4C05B801917F}" dt="2024-09-12T08:10:51.476" v="319" actId="1035"/>
          <ac:spMkLst>
            <pc:docMk/>
            <pc:sldMk cId="4073989990" sldId="259"/>
            <ac:spMk id="10" creationId="{E5D13480-4C6A-1FF5-F1D5-EC3AB9308B95}"/>
          </ac:spMkLst>
        </pc:spChg>
        <pc:spChg chg="mod">
          <ac:chgData name="JOSE MARIA PINILLA VELAZQUEZ" userId="01005d95-6857-40cd-9c1f-40fa144a788f" providerId="ADAL" clId="{896B9F48-B960-4730-AE0B-4C05B801917F}" dt="2024-09-12T08:10:51.476" v="319" actId="1035"/>
          <ac:spMkLst>
            <pc:docMk/>
            <pc:sldMk cId="4073989990" sldId="259"/>
            <ac:spMk id="11" creationId="{C418FF23-8231-498E-E5A9-7596A3F9E3E8}"/>
          </ac:spMkLst>
        </pc:spChg>
        <pc:spChg chg="mod">
          <ac:chgData name="JOSE MARIA PINILLA VELAZQUEZ" userId="01005d95-6857-40cd-9c1f-40fa144a788f" providerId="ADAL" clId="{896B9F48-B960-4730-AE0B-4C05B801917F}" dt="2024-09-12T08:10:51.476" v="319" actId="1035"/>
          <ac:spMkLst>
            <pc:docMk/>
            <pc:sldMk cId="4073989990" sldId="259"/>
            <ac:spMk id="12" creationId="{B5734B4D-CA6D-1A46-CB6C-15C86CC8F045}"/>
          </ac:spMkLst>
        </pc:spChg>
        <pc:spChg chg="mod">
          <ac:chgData name="JOSE MARIA PINILLA VELAZQUEZ" userId="01005d95-6857-40cd-9c1f-40fa144a788f" providerId="ADAL" clId="{896B9F48-B960-4730-AE0B-4C05B801917F}" dt="2024-09-12T08:10:51.476" v="319" actId="1035"/>
          <ac:spMkLst>
            <pc:docMk/>
            <pc:sldMk cId="4073989990" sldId="259"/>
            <ac:spMk id="13" creationId="{BF384E31-3B4A-0C4D-CA08-91B199A752DA}"/>
          </ac:spMkLst>
        </pc:spChg>
        <pc:spChg chg="mod">
          <ac:chgData name="JOSE MARIA PINILLA VELAZQUEZ" userId="01005d95-6857-40cd-9c1f-40fa144a788f" providerId="ADAL" clId="{896B9F48-B960-4730-AE0B-4C05B801917F}" dt="2024-09-12T08:10:51.476" v="319" actId="1035"/>
          <ac:spMkLst>
            <pc:docMk/>
            <pc:sldMk cId="4073989990" sldId="259"/>
            <ac:spMk id="14" creationId="{9F7B95C0-6381-1D0D-D0ED-9B642811B73A}"/>
          </ac:spMkLst>
        </pc:spChg>
        <pc:spChg chg="mod">
          <ac:chgData name="JOSE MARIA PINILLA VELAZQUEZ" userId="01005d95-6857-40cd-9c1f-40fa144a788f" providerId="ADAL" clId="{896B9F48-B960-4730-AE0B-4C05B801917F}" dt="2024-09-12T08:10:51.476" v="319" actId="1035"/>
          <ac:spMkLst>
            <pc:docMk/>
            <pc:sldMk cId="4073989990" sldId="259"/>
            <ac:spMk id="15" creationId="{2A22EC16-AA38-504B-51A8-9116331E1855}"/>
          </ac:spMkLst>
        </pc:spChg>
        <pc:spChg chg="mod">
          <ac:chgData name="JOSE MARIA PINILLA VELAZQUEZ" userId="01005d95-6857-40cd-9c1f-40fa144a788f" providerId="ADAL" clId="{896B9F48-B960-4730-AE0B-4C05B801917F}" dt="2024-09-12T08:10:51.476" v="319" actId="1035"/>
          <ac:spMkLst>
            <pc:docMk/>
            <pc:sldMk cId="4073989990" sldId="259"/>
            <ac:spMk id="16" creationId="{154B8A1C-1B60-68EA-1CF5-28DE774ECB8A}"/>
          </ac:spMkLst>
        </pc:spChg>
        <pc:spChg chg="mod">
          <ac:chgData name="JOSE MARIA PINILLA VELAZQUEZ" userId="01005d95-6857-40cd-9c1f-40fa144a788f" providerId="ADAL" clId="{896B9F48-B960-4730-AE0B-4C05B801917F}" dt="2024-09-12T08:10:51.476" v="319" actId="1035"/>
          <ac:spMkLst>
            <pc:docMk/>
            <pc:sldMk cId="4073989990" sldId="259"/>
            <ac:spMk id="19" creationId="{9EDCFA26-D495-54DE-8AC0-F11EED58FDC7}"/>
          </ac:spMkLst>
        </pc:spChg>
        <pc:spChg chg="mod">
          <ac:chgData name="JOSE MARIA PINILLA VELAZQUEZ" userId="01005d95-6857-40cd-9c1f-40fa144a788f" providerId="ADAL" clId="{896B9F48-B960-4730-AE0B-4C05B801917F}" dt="2024-09-12T08:10:51.476" v="319" actId="1035"/>
          <ac:spMkLst>
            <pc:docMk/>
            <pc:sldMk cId="4073989990" sldId="259"/>
            <ac:spMk id="22" creationId="{7AF955A8-B09A-83E1-18B7-5A2395D3E177}"/>
          </ac:spMkLst>
        </pc:spChg>
        <pc:spChg chg="mod">
          <ac:chgData name="JOSE MARIA PINILLA VELAZQUEZ" userId="01005d95-6857-40cd-9c1f-40fa144a788f" providerId="ADAL" clId="{896B9F48-B960-4730-AE0B-4C05B801917F}" dt="2024-09-12T08:10:51.476" v="319" actId="1035"/>
          <ac:spMkLst>
            <pc:docMk/>
            <pc:sldMk cId="4073989990" sldId="259"/>
            <ac:spMk id="24" creationId="{4EA53342-8D4E-33AC-3E52-393F8B59564E}"/>
          </ac:spMkLst>
        </pc:spChg>
        <pc:graphicFrameChg chg="mod">
          <ac:chgData name="JOSE MARIA PINILLA VELAZQUEZ" userId="01005d95-6857-40cd-9c1f-40fa144a788f" providerId="ADAL" clId="{896B9F48-B960-4730-AE0B-4C05B801917F}" dt="2024-09-12T08:10:51.476" v="319" actId="1035"/>
          <ac:graphicFrameMkLst>
            <pc:docMk/>
            <pc:sldMk cId="4073989990" sldId="259"/>
            <ac:graphicFrameMk id="3" creationId="{FE1D7A5A-B492-9901-90DF-017A1D8E0690}"/>
          </ac:graphicFrameMkLst>
        </pc:graphicFrameChg>
        <pc:cxnChg chg="mod">
          <ac:chgData name="JOSE MARIA PINILLA VELAZQUEZ" userId="01005d95-6857-40cd-9c1f-40fa144a788f" providerId="ADAL" clId="{896B9F48-B960-4730-AE0B-4C05B801917F}" dt="2024-09-12T08:10:51.476" v="319" actId="1035"/>
          <ac:cxnSpMkLst>
            <pc:docMk/>
            <pc:sldMk cId="4073989990" sldId="259"/>
            <ac:cxnSpMk id="17" creationId="{948AB3A9-6BF2-5207-0988-105C218B50D2}"/>
          </ac:cxnSpMkLst>
        </pc:cxnChg>
        <pc:cxnChg chg="mod">
          <ac:chgData name="JOSE MARIA PINILLA VELAZQUEZ" userId="01005d95-6857-40cd-9c1f-40fa144a788f" providerId="ADAL" clId="{896B9F48-B960-4730-AE0B-4C05B801917F}" dt="2024-09-12T08:10:51.476" v="319" actId="1035"/>
          <ac:cxnSpMkLst>
            <pc:docMk/>
            <pc:sldMk cId="4073989990" sldId="259"/>
            <ac:cxnSpMk id="18" creationId="{AE257C67-359E-8D36-B19A-8CC68916AABB}"/>
          </ac:cxnSpMkLst>
        </pc:cxnChg>
      </pc:sldChg>
    </pc:docChg>
  </pc:docChgLst>
  <pc:docChgLst>
    <pc:chgData name="JOSE MARIA PINILLA VELAZQUEZ" userId="01005d95-6857-40cd-9c1f-40fa144a788f" providerId="ADAL" clId="{99F20165-DD00-4F60-973F-ED3ACDD2B3B8}"/>
    <pc:docChg chg="addSld modSld sldOrd">
      <pc:chgData name="JOSE MARIA PINILLA VELAZQUEZ" userId="01005d95-6857-40cd-9c1f-40fa144a788f" providerId="ADAL" clId="{99F20165-DD00-4F60-973F-ED3ACDD2B3B8}" dt="2024-09-12T12:12:13.609" v="2"/>
      <pc:docMkLst>
        <pc:docMk/>
      </pc:docMkLst>
      <pc:sldChg chg="add ord">
        <pc:chgData name="JOSE MARIA PINILLA VELAZQUEZ" userId="01005d95-6857-40cd-9c1f-40fa144a788f" providerId="ADAL" clId="{99F20165-DD00-4F60-973F-ED3ACDD2B3B8}" dt="2024-09-12T12:12:13.609" v="2"/>
        <pc:sldMkLst>
          <pc:docMk/>
          <pc:sldMk cId="2814546384" sldId="261"/>
        </pc:sldMkLst>
      </pc:sldChg>
    </pc:docChg>
  </pc:docChgLst>
  <pc:docChgLst>
    <pc:chgData name="JOSE MARIA PINILLA VELAZQUEZ" userId="01005d95-6857-40cd-9c1f-40fa144a788f" providerId="ADAL" clId="{5DDCF52E-2E2B-4C66-A7A0-815DB035C76D}"/>
    <pc:docChg chg="modSld">
      <pc:chgData name="JOSE MARIA PINILLA VELAZQUEZ" userId="01005d95-6857-40cd-9c1f-40fa144a788f" providerId="ADAL" clId="{5DDCF52E-2E2B-4C66-A7A0-815DB035C76D}" dt="2024-09-11T11:02:11.312" v="25" actId="14100"/>
      <pc:docMkLst>
        <pc:docMk/>
      </pc:docMkLst>
      <pc:sldChg chg="modSp mod">
        <pc:chgData name="JOSE MARIA PINILLA VELAZQUEZ" userId="01005d95-6857-40cd-9c1f-40fa144a788f" providerId="ADAL" clId="{5DDCF52E-2E2B-4C66-A7A0-815DB035C76D}" dt="2024-09-11T11:02:11.312" v="25" actId="14100"/>
        <pc:sldMkLst>
          <pc:docMk/>
          <pc:sldMk cId="3763999318" sldId="257"/>
        </pc:sldMkLst>
        <pc:spChg chg="mod">
          <ac:chgData name="JOSE MARIA PINILLA VELAZQUEZ" userId="01005d95-6857-40cd-9c1f-40fa144a788f" providerId="ADAL" clId="{5DDCF52E-2E2B-4C66-A7A0-815DB035C76D}" dt="2024-09-11T11:02:11.312" v="25" actId="14100"/>
          <ac:spMkLst>
            <pc:docMk/>
            <pc:sldMk cId="3763999318" sldId="257"/>
            <ac:spMk id="12" creationId="{44CBB4D8-77B4-344F-CD09-DD95C48C8D79}"/>
          </ac:spMkLst>
        </pc:spChg>
      </pc:sldChg>
    </pc:docChg>
  </pc:docChgLst>
  <pc:docChgLst>
    <pc:chgData name="JOSE MARIA PINILLA VELAZQUEZ" userId="01005d95-6857-40cd-9c1f-40fa144a788f" providerId="ADAL" clId="{6A5C4F53-BC19-44B5-9C55-42D6E295A5D7}"/>
    <pc:docChg chg="modSld">
      <pc:chgData name="JOSE MARIA PINILLA VELAZQUEZ" userId="01005d95-6857-40cd-9c1f-40fa144a788f" providerId="ADAL" clId="{6A5C4F53-BC19-44B5-9C55-42D6E295A5D7}" dt="2024-09-04T15:50:06.720" v="1"/>
      <pc:docMkLst>
        <pc:docMk/>
      </pc:docMkLst>
      <pc:sldChg chg="modSp">
        <pc:chgData name="JOSE MARIA PINILLA VELAZQUEZ" userId="01005d95-6857-40cd-9c1f-40fa144a788f" providerId="ADAL" clId="{6A5C4F53-BC19-44B5-9C55-42D6E295A5D7}" dt="2024-09-04T15:50:06.720" v="1"/>
        <pc:sldMkLst>
          <pc:docMk/>
          <pc:sldMk cId="4073989990" sldId="259"/>
        </pc:sldMkLst>
        <pc:graphicFrameChg chg="mod">
          <ac:chgData name="JOSE MARIA PINILLA VELAZQUEZ" userId="01005d95-6857-40cd-9c1f-40fa144a788f" providerId="ADAL" clId="{6A5C4F53-BC19-44B5-9C55-42D6E295A5D7}" dt="2024-09-04T15:50:06.720" v="1"/>
          <ac:graphicFrameMkLst>
            <pc:docMk/>
            <pc:sldMk cId="4073989990" sldId="259"/>
            <ac:graphicFrameMk id="3" creationId="{FE1D7A5A-B492-9901-90DF-017A1D8E0690}"/>
          </ac:graphicFrameMkLst>
        </pc:graphicFrameChg>
      </pc:sldChg>
    </pc:docChg>
  </pc:docChgLst>
  <pc:docChgLst>
    <pc:chgData name="JOSE MARIA PINILLA VELAZQUEZ" userId="01005d95-6857-40cd-9c1f-40fa144a788f" providerId="ADAL" clId="{218FD6E0-D217-4724-A72C-6492438F3FA4}"/>
    <pc:docChg chg="modSld">
      <pc:chgData name="JOSE MARIA PINILLA VELAZQUEZ" userId="01005d95-6857-40cd-9c1f-40fa144a788f" providerId="ADAL" clId="{218FD6E0-D217-4724-A72C-6492438F3FA4}" dt="2024-09-03T07:24:36.699" v="0"/>
      <pc:docMkLst>
        <pc:docMk/>
      </pc:docMkLst>
      <pc:sldChg chg="modSp">
        <pc:chgData name="JOSE MARIA PINILLA VELAZQUEZ" userId="01005d95-6857-40cd-9c1f-40fa144a788f" providerId="ADAL" clId="{218FD6E0-D217-4724-A72C-6492438F3FA4}" dt="2024-09-03T07:24:36.699" v="0"/>
        <pc:sldMkLst>
          <pc:docMk/>
          <pc:sldMk cId="4073989990" sldId="259"/>
        </pc:sldMkLst>
        <pc:graphicFrameChg chg="mod">
          <ac:chgData name="JOSE MARIA PINILLA VELAZQUEZ" userId="01005d95-6857-40cd-9c1f-40fa144a788f" providerId="ADAL" clId="{218FD6E0-D217-4724-A72C-6492438F3FA4}" dt="2024-09-03T07:24:36.699" v="0"/>
          <ac:graphicFrameMkLst>
            <pc:docMk/>
            <pc:sldMk cId="4073989990" sldId="259"/>
            <ac:graphicFrameMk id="3" creationId="{FE1D7A5A-B492-9901-90DF-017A1D8E0690}"/>
          </ac:graphicFrameMkLst>
        </pc:graphicFrameChg>
      </pc:sldChg>
    </pc:docChg>
  </pc:docChgLst>
  <pc:docChgLst>
    <pc:chgData name="JOSE MARIA PINILLA VELAZQUEZ" userId="01005d95-6857-40cd-9c1f-40fa144a788f" providerId="ADAL" clId="{A4232676-3EB6-4E54-B49C-17090C8AEAE0}"/>
    <pc:docChg chg="delSld">
      <pc:chgData name="JOSE MARIA PINILLA VELAZQUEZ" userId="01005d95-6857-40cd-9c1f-40fa144a788f" providerId="ADAL" clId="{A4232676-3EB6-4E54-B49C-17090C8AEAE0}" dt="2024-09-12T16:10:06.062" v="0" actId="47"/>
      <pc:docMkLst>
        <pc:docMk/>
      </pc:docMkLst>
      <pc:sldChg chg="del">
        <pc:chgData name="JOSE MARIA PINILLA VELAZQUEZ" userId="01005d95-6857-40cd-9c1f-40fa144a788f" providerId="ADAL" clId="{A4232676-3EB6-4E54-B49C-17090C8AEAE0}" dt="2024-09-12T16:10:06.062" v="0" actId="47"/>
        <pc:sldMkLst>
          <pc:docMk/>
          <pc:sldMk cId="281423612" sldId="257"/>
        </pc:sldMkLst>
      </pc:sldChg>
    </pc:docChg>
  </pc:docChgLst>
  <pc:docChgLst>
    <pc:chgData name="JOSE MARIA PINILLA VELAZQUEZ" userId="01005d95-6857-40cd-9c1f-40fa144a788f" providerId="ADAL" clId="{BFDE19CD-DE4A-40BE-941A-9589C3FE1EDD}"/>
    <pc:docChg chg="addSld modSld">
      <pc:chgData name="JOSE MARIA PINILLA VELAZQUEZ" userId="01005d95-6857-40cd-9c1f-40fa144a788f" providerId="ADAL" clId="{BFDE19CD-DE4A-40BE-941A-9589C3FE1EDD}" dt="2024-09-13T12:05:42.909" v="0"/>
      <pc:docMkLst>
        <pc:docMk/>
      </pc:docMkLst>
      <pc:sldChg chg="add">
        <pc:chgData name="JOSE MARIA PINILLA VELAZQUEZ" userId="01005d95-6857-40cd-9c1f-40fa144a788f" providerId="ADAL" clId="{BFDE19CD-DE4A-40BE-941A-9589C3FE1EDD}" dt="2024-09-13T12:05:42.909" v="0"/>
        <pc:sldMkLst>
          <pc:docMk/>
          <pc:sldMk cId="3494859784" sldId="257"/>
        </pc:sldMkLst>
      </pc:sldChg>
    </pc:docChg>
  </pc:docChgLst>
  <pc:docChgLst>
    <pc:chgData name="LAURA PALLARDO SERVER" userId="976de7e0-18e0-4c1e-8086-23e636f98806" providerId="ADAL" clId="{84DFF02C-FA71-4F75-B5D2-B7748F501A90}"/>
    <pc:docChg chg="modSld">
      <pc:chgData name="LAURA PALLARDO SERVER" userId="976de7e0-18e0-4c1e-8086-23e636f98806" providerId="ADAL" clId="{84DFF02C-FA71-4F75-B5D2-B7748F501A90}" dt="2024-09-03T07:17:32.735" v="0"/>
      <pc:docMkLst>
        <pc:docMk/>
      </pc:docMkLst>
      <pc:sldChg chg="modSp">
        <pc:chgData name="LAURA PALLARDO SERVER" userId="976de7e0-18e0-4c1e-8086-23e636f98806" providerId="ADAL" clId="{84DFF02C-FA71-4F75-B5D2-B7748F501A90}" dt="2024-09-03T07:17:32.735" v="0"/>
        <pc:sldMkLst>
          <pc:docMk/>
          <pc:sldMk cId="4073989990" sldId="259"/>
        </pc:sldMkLst>
        <pc:graphicFrameChg chg="mod">
          <ac:chgData name="LAURA PALLARDO SERVER" userId="976de7e0-18e0-4c1e-8086-23e636f98806" providerId="ADAL" clId="{84DFF02C-FA71-4F75-B5D2-B7748F501A90}" dt="2024-09-03T07:17:32.735" v="0"/>
          <ac:graphicFrameMkLst>
            <pc:docMk/>
            <pc:sldMk cId="4073989990" sldId="259"/>
            <ac:graphicFrameMk id="3" creationId="{FE1D7A5A-B492-9901-90DF-017A1D8E0690}"/>
          </ac:graphicFrameMkLst>
        </pc:graphicFrameChg>
      </pc:sldChg>
    </pc:docChg>
  </pc:docChgLst>
  <pc:docChgLst>
    <pc:chgData name="JOSE MARIA PINILLA VELAZQUEZ" userId="01005d95-6857-40cd-9c1f-40fa144a788f" providerId="ADAL" clId="{A0F82A03-5077-4831-8694-52BEE87A0A13}"/>
    <pc:docChg chg="addSld delSld modSld">
      <pc:chgData name="JOSE MARIA PINILLA VELAZQUEZ" userId="01005d95-6857-40cd-9c1f-40fa144a788f" providerId="ADAL" clId="{A0F82A03-5077-4831-8694-52BEE87A0A13}" dt="2024-09-02T10:58:44.345" v="4" actId="47"/>
      <pc:docMkLst>
        <pc:docMk/>
      </pc:docMkLst>
      <pc:sldChg chg="del">
        <pc:chgData name="JOSE MARIA PINILLA VELAZQUEZ" userId="01005d95-6857-40cd-9c1f-40fa144a788f" providerId="ADAL" clId="{A0F82A03-5077-4831-8694-52BEE87A0A13}" dt="2024-09-02T10:58:08.499" v="2" actId="47"/>
        <pc:sldMkLst>
          <pc:docMk/>
          <pc:sldMk cId="218684418" sldId="257"/>
        </pc:sldMkLst>
      </pc:sldChg>
      <pc:sldChg chg="add">
        <pc:chgData name="JOSE MARIA PINILLA VELAZQUEZ" userId="01005d95-6857-40cd-9c1f-40fa144a788f" providerId="ADAL" clId="{A0F82A03-5077-4831-8694-52BEE87A0A13}" dt="2024-09-02T10:58:04.535" v="0"/>
        <pc:sldMkLst>
          <pc:docMk/>
          <pc:sldMk cId="57633349" sldId="258"/>
        </pc:sldMkLst>
      </pc:sldChg>
      <pc:sldChg chg="add">
        <pc:chgData name="JOSE MARIA PINILLA VELAZQUEZ" userId="01005d95-6857-40cd-9c1f-40fa144a788f" providerId="ADAL" clId="{A0F82A03-5077-4831-8694-52BEE87A0A13}" dt="2024-09-02T10:58:04.535" v="0"/>
        <pc:sldMkLst>
          <pc:docMk/>
          <pc:sldMk cId="4073989990" sldId="259"/>
        </pc:sldMkLst>
      </pc:sldChg>
      <pc:sldChg chg="add">
        <pc:chgData name="JOSE MARIA PINILLA VELAZQUEZ" userId="01005d95-6857-40cd-9c1f-40fa144a788f" providerId="ADAL" clId="{A0F82A03-5077-4831-8694-52BEE87A0A13}" dt="2024-09-02T10:58:41.428" v="3"/>
        <pc:sldMkLst>
          <pc:docMk/>
          <pc:sldMk cId="3405125810" sldId="260"/>
        </pc:sldMkLst>
      </pc:sldChg>
      <pc:sldChg chg="del">
        <pc:chgData name="JOSE MARIA PINILLA VELAZQUEZ" userId="01005d95-6857-40cd-9c1f-40fa144a788f" providerId="ADAL" clId="{A0F82A03-5077-4831-8694-52BEE87A0A13}" dt="2024-09-02T10:58:44.345" v="4" actId="47"/>
        <pc:sldMkLst>
          <pc:docMk/>
          <pc:sldMk cId="1345338014" sldId="2147482504"/>
        </pc:sldMkLst>
      </pc:sldChg>
      <pc:sldChg chg="del">
        <pc:chgData name="JOSE MARIA PINILLA VELAZQUEZ" userId="01005d95-6857-40cd-9c1f-40fa144a788f" providerId="ADAL" clId="{A0F82A03-5077-4831-8694-52BEE87A0A13}" dt="2024-09-02T10:58:07.667" v="1" actId="47"/>
        <pc:sldMkLst>
          <pc:docMk/>
          <pc:sldMk cId="1688088763" sldId="2147482521"/>
        </pc:sldMkLst>
      </pc:sldChg>
    </pc:docChg>
  </pc:docChgLst>
  <pc:docChgLst>
    <pc:chgData name="JOSE MARIA PINILLA VELAZQUEZ" userId="01005d95-6857-40cd-9c1f-40fa144a788f" providerId="ADAL" clId="{24B1BF06-5DF3-413F-B24B-936A916F5DAA}"/>
    <pc:docChg chg="delSld">
      <pc:chgData name="JOSE MARIA PINILLA VELAZQUEZ" userId="01005d95-6857-40cd-9c1f-40fa144a788f" providerId="ADAL" clId="{24B1BF06-5DF3-413F-B24B-936A916F5DAA}" dt="2024-09-17T17:56:22.928" v="0" actId="47"/>
      <pc:docMkLst>
        <pc:docMk/>
      </pc:docMkLst>
      <pc:sldChg chg="del">
        <pc:chgData name="JOSE MARIA PINILLA VELAZQUEZ" userId="01005d95-6857-40cd-9c1f-40fa144a788f" providerId="ADAL" clId="{24B1BF06-5DF3-413F-B24B-936A916F5DAA}" dt="2024-09-17T17:56:22.928" v="0" actId="47"/>
        <pc:sldMkLst>
          <pc:docMk/>
          <pc:sldMk cId="3939871833" sldId="262"/>
        </pc:sldMkLst>
      </pc:sldChg>
    </pc:docChg>
  </pc:docChgLst>
  <pc:docChgLst>
    <pc:chgData name="JOSE MARIA PINILLA VELAZQUEZ" userId="01005d95-6857-40cd-9c1f-40fa144a788f" providerId="ADAL" clId="{F94C15BE-A851-4F1A-BCCF-53D8FF39F8B6}"/>
    <pc:docChg chg="undo custSel modSld">
      <pc:chgData name="JOSE MARIA PINILLA VELAZQUEZ" userId="01005d95-6857-40cd-9c1f-40fa144a788f" providerId="ADAL" clId="{F94C15BE-A851-4F1A-BCCF-53D8FF39F8B6}" dt="2024-09-11T16:10:54.349" v="535" actId="1036"/>
      <pc:docMkLst>
        <pc:docMk/>
      </pc:docMkLst>
      <pc:sldChg chg="addSp modSp mod">
        <pc:chgData name="JOSE MARIA PINILLA VELAZQUEZ" userId="01005d95-6857-40cd-9c1f-40fa144a788f" providerId="ADAL" clId="{F94C15BE-A851-4F1A-BCCF-53D8FF39F8B6}" dt="2024-09-11T16:10:54.349" v="535" actId="1036"/>
        <pc:sldMkLst>
          <pc:docMk/>
          <pc:sldMk cId="57633349" sldId="258"/>
        </pc:sldMkLst>
        <pc:spChg chg="add mod">
          <ac:chgData name="JOSE MARIA PINILLA VELAZQUEZ" userId="01005d95-6857-40cd-9c1f-40fa144a788f" providerId="ADAL" clId="{F94C15BE-A851-4F1A-BCCF-53D8FF39F8B6}" dt="2024-09-11T16:06:36.828" v="142" actId="1036"/>
          <ac:spMkLst>
            <pc:docMk/>
            <pc:sldMk cId="57633349" sldId="258"/>
            <ac:spMk id="6" creationId="{974320AD-B3DF-0E2C-830A-E3B0BF1FE63C}"/>
          </ac:spMkLst>
        </pc:spChg>
        <pc:spChg chg="add mod">
          <ac:chgData name="JOSE MARIA PINILLA VELAZQUEZ" userId="01005d95-6857-40cd-9c1f-40fa144a788f" providerId="ADAL" clId="{F94C15BE-A851-4F1A-BCCF-53D8FF39F8B6}" dt="2024-09-11T16:07:54.776" v="183" actId="20577"/>
          <ac:spMkLst>
            <pc:docMk/>
            <pc:sldMk cId="57633349" sldId="258"/>
            <ac:spMk id="7" creationId="{168B128E-A41C-A1CE-92AA-2AB8E29AD053}"/>
          </ac:spMkLst>
        </pc:spChg>
        <pc:spChg chg="add mod">
          <ac:chgData name="JOSE MARIA PINILLA VELAZQUEZ" userId="01005d95-6857-40cd-9c1f-40fa144a788f" providerId="ADAL" clId="{F94C15BE-A851-4F1A-BCCF-53D8FF39F8B6}" dt="2024-09-11T16:08:21.037" v="308" actId="1036"/>
          <ac:spMkLst>
            <pc:docMk/>
            <pc:sldMk cId="57633349" sldId="258"/>
            <ac:spMk id="8" creationId="{46C04393-384B-C593-3233-940BB277576E}"/>
          </ac:spMkLst>
        </pc:spChg>
        <pc:spChg chg="add mod">
          <ac:chgData name="JOSE MARIA PINILLA VELAZQUEZ" userId="01005d95-6857-40cd-9c1f-40fa144a788f" providerId="ADAL" clId="{F94C15BE-A851-4F1A-BCCF-53D8FF39F8B6}" dt="2024-09-11T16:09:47.321" v="517" actId="6549"/>
          <ac:spMkLst>
            <pc:docMk/>
            <pc:sldMk cId="57633349" sldId="258"/>
            <ac:spMk id="9" creationId="{556FB62B-5787-0F62-C4F7-484C1158FD76}"/>
          </ac:spMkLst>
        </pc:spChg>
        <pc:spChg chg="add mod">
          <ac:chgData name="JOSE MARIA PINILLA VELAZQUEZ" userId="01005d95-6857-40cd-9c1f-40fa144a788f" providerId="ADAL" clId="{F94C15BE-A851-4F1A-BCCF-53D8FF39F8B6}" dt="2024-09-11T16:10:08.063" v="519" actId="1076"/>
          <ac:spMkLst>
            <pc:docMk/>
            <pc:sldMk cId="57633349" sldId="258"/>
            <ac:spMk id="10" creationId="{341FF9EA-DE39-4A12-4FAE-2D3371065B71}"/>
          </ac:spMkLst>
        </pc:spChg>
        <pc:spChg chg="mod">
          <ac:chgData name="JOSE MARIA PINILLA VELAZQUEZ" userId="01005d95-6857-40cd-9c1f-40fa144a788f" providerId="ADAL" clId="{F94C15BE-A851-4F1A-BCCF-53D8FF39F8B6}" dt="2024-09-11T16:05:10.927" v="83" actId="1036"/>
          <ac:spMkLst>
            <pc:docMk/>
            <pc:sldMk cId="57633349" sldId="258"/>
            <ac:spMk id="43" creationId="{95EEA815-39D2-3F86-FC97-D60D263E34D9}"/>
          </ac:spMkLst>
        </pc:spChg>
        <pc:spChg chg="mod">
          <ac:chgData name="JOSE MARIA PINILLA VELAZQUEZ" userId="01005d95-6857-40cd-9c1f-40fa144a788f" providerId="ADAL" clId="{F94C15BE-A851-4F1A-BCCF-53D8FF39F8B6}" dt="2024-09-11T16:05:02.089" v="76" actId="1036"/>
          <ac:spMkLst>
            <pc:docMk/>
            <pc:sldMk cId="57633349" sldId="258"/>
            <ac:spMk id="44" creationId="{025C5CA6-8057-856A-4857-974DFB743F9F}"/>
          </ac:spMkLst>
        </pc:spChg>
        <pc:spChg chg="mod">
          <ac:chgData name="JOSE MARIA PINILLA VELAZQUEZ" userId="01005d95-6857-40cd-9c1f-40fa144a788f" providerId="ADAL" clId="{F94C15BE-A851-4F1A-BCCF-53D8FF39F8B6}" dt="2024-09-11T16:10:12.525" v="521" actId="20577"/>
          <ac:spMkLst>
            <pc:docMk/>
            <pc:sldMk cId="57633349" sldId="258"/>
            <ac:spMk id="45" creationId="{01600F46-E6FF-98FC-D003-DAF366E4591F}"/>
          </ac:spMkLst>
        </pc:spChg>
        <pc:spChg chg="mod">
          <ac:chgData name="JOSE MARIA PINILLA VELAZQUEZ" userId="01005d95-6857-40cd-9c1f-40fa144a788f" providerId="ADAL" clId="{F94C15BE-A851-4F1A-BCCF-53D8FF39F8B6}" dt="2024-09-11T16:10:15.756" v="523" actId="20577"/>
          <ac:spMkLst>
            <pc:docMk/>
            <pc:sldMk cId="57633349" sldId="258"/>
            <ac:spMk id="46" creationId="{D2282ED6-9D30-0C22-9F72-EB9DBE7FB8FA}"/>
          </ac:spMkLst>
        </pc:spChg>
        <pc:spChg chg="mod">
          <ac:chgData name="JOSE MARIA PINILLA VELAZQUEZ" userId="01005d95-6857-40cd-9c1f-40fa144a788f" providerId="ADAL" clId="{F94C15BE-A851-4F1A-BCCF-53D8FF39F8B6}" dt="2024-09-11T16:10:19.268" v="525" actId="20577"/>
          <ac:spMkLst>
            <pc:docMk/>
            <pc:sldMk cId="57633349" sldId="258"/>
            <ac:spMk id="50" creationId="{6485CD54-A6C2-411C-1080-E7419F34CB55}"/>
          </ac:spMkLst>
        </pc:spChg>
        <pc:spChg chg="mod">
          <ac:chgData name="JOSE MARIA PINILLA VELAZQUEZ" userId="01005d95-6857-40cd-9c1f-40fa144a788f" providerId="ADAL" clId="{F94C15BE-A851-4F1A-BCCF-53D8FF39F8B6}" dt="2024-09-11T16:10:54.349" v="535" actId="1036"/>
          <ac:spMkLst>
            <pc:docMk/>
            <pc:sldMk cId="57633349" sldId="258"/>
            <ac:spMk id="58" creationId="{1812F193-FFCD-0BE5-C748-9B7F6B873FBF}"/>
          </ac:spMkLst>
        </pc:spChg>
        <pc:spChg chg="mod">
          <ac:chgData name="JOSE MARIA PINILLA VELAZQUEZ" userId="01005d95-6857-40cd-9c1f-40fa144a788f" providerId="ADAL" clId="{F94C15BE-A851-4F1A-BCCF-53D8FF39F8B6}" dt="2024-09-11T16:06:36.828" v="142" actId="1036"/>
          <ac:spMkLst>
            <pc:docMk/>
            <pc:sldMk cId="57633349" sldId="258"/>
            <ac:spMk id="64" creationId="{53C20FD9-A419-5D93-0724-512BE7CE1065}"/>
          </ac:spMkLst>
        </pc:spChg>
        <pc:spChg chg="mod">
          <ac:chgData name="JOSE MARIA PINILLA VELAZQUEZ" userId="01005d95-6857-40cd-9c1f-40fa144a788f" providerId="ADAL" clId="{F94C15BE-A851-4F1A-BCCF-53D8FF39F8B6}" dt="2024-09-11T16:06:36.828" v="142" actId="1036"/>
          <ac:spMkLst>
            <pc:docMk/>
            <pc:sldMk cId="57633349" sldId="258"/>
            <ac:spMk id="65" creationId="{2038FFEE-9B2F-B881-0AE8-1770618E7273}"/>
          </ac:spMkLst>
        </pc:spChg>
        <pc:spChg chg="mod">
          <ac:chgData name="JOSE MARIA PINILLA VELAZQUEZ" userId="01005d95-6857-40cd-9c1f-40fa144a788f" providerId="ADAL" clId="{F94C15BE-A851-4F1A-BCCF-53D8FF39F8B6}" dt="2024-09-11T16:04:18.253" v="51" actId="1076"/>
          <ac:spMkLst>
            <pc:docMk/>
            <pc:sldMk cId="57633349" sldId="258"/>
            <ac:spMk id="68" creationId="{90153984-08E1-90CC-521B-2C6969B72912}"/>
          </ac:spMkLst>
        </pc:spChg>
        <pc:spChg chg="mod">
          <ac:chgData name="JOSE MARIA PINILLA VELAZQUEZ" userId="01005d95-6857-40cd-9c1f-40fa144a788f" providerId="ADAL" clId="{F94C15BE-A851-4F1A-BCCF-53D8FF39F8B6}" dt="2024-09-11T16:10:23.435" v="527" actId="20577"/>
          <ac:spMkLst>
            <pc:docMk/>
            <pc:sldMk cId="57633349" sldId="258"/>
            <ac:spMk id="71" creationId="{402B427A-8640-7A2E-AC22-4905E479EFE3}"/>
          </ac:spMkLst>
        </pc:spChg>
        <pc:spChg chg="mod">
          <ac:chgData name="JOSE MARIA PINILLA VELAZQUEZ" userId="01005d95-6857-40cd-9c1f-40fa144a788f" providerId="ADAL" clId="{F94C15BE-A851-4F1A-BCCF-53D8FF39F8B6}" dt="2024-09-11T16:10:28.259" v="529" actId="20577"/>
          <ac:spMkLst>
            <pc:docMk/>
            <pc:sldMk cId="57633349" sldId="258"/>
            <ac:spMk id="81" creationId="{3E01B21E-6365-2EF0-DDFA-9BCA086B479F}"/>
          </ac:spMkLst>
        </pc:spChg>
        <pc:spChg chg="mod">
          <ac:chgData name="JOSE MARIA PINILLA VELAZQUEZ" userId="01005d95-6857-40cd-9c1f-40fa144a788f" providerId="ADAL" clId="{F94C15BE-A851-4F1A-BCCF-53D8FF39F8B6}" dt="2024-09-11T16:10:31.638" v="531" actId="20577"/>
          <ac:spMkLst>
            <pc:docMk/>
            <pc:sldMk cId="57633349" sldId="258"/>
            <ac:spMk id="82" creationId="{50B02E5D-984A-ECA4-9B70-819865CECADA}"/>
          </ac:spMkLst>
        </pc:spChg>
        <pc:grpChg chg="mod">
          <ac:chgData name="JOSE MARIA PINILLA VELAZQUEZ" userId="01005d95-6857-40cd-9c1f-40fa144a788f" providerId="ADAL" clId="{F94C15BE-A851-4F1A-BCCF-53D8FF39F8B6}" dt="2024-09-11T16:05:52.553" v="114" actId="1035"/>
          <ac:grpSpMkLst>
            <pc:docMk/>
            <pc:sldMk cId="57633349" sldId="258"/>
            <ac:grpSpMk id="29" creationId="{D1D05348-32D9-9D7D-CFDC-C6A95C17620A}"/>
          </ac:grpSpMkLst>
        </pc:grpChg>
        <pc:grpChg chg="mod">
          <ac:chgData name="JOSE MARIA PINILLA VELAZQUEZ" userId="01005d95-6857-40cd-9c1f-40fa144a788f" providerId="ADAL" clId="{F94C15BE-A851-4F1A-BCCF-53D8FF39F8B6}" dt="2024-09-11T16:05:52.553" v="114" actId="1035"/>
          <ac:grpSpMkLst>
            <pc:docMk/>
            <pc:sldMk cId="57633349" sldId="258"/>
            <ac:grpSpMk id="32" creationId="{54DE0A80-C273-A684-76ED-BF1AFBCBE50F}"/>
          </ac:grpSpMkLst>
        </pc:grpChg>
        <pc:picChg chg="mod">
          <ac:chgData name="JOSE MARIA PINILLA VELAZQUEZ" userId="01005d95-6857-40cd-9c1f-40fa144a788f" providerId="ADAL" clId="{F94C15BE-A851-4F1A-BCCF-53D8FF39F8B6}" dt="2024-09-11T16:05:52.553" v="114" actId="1035"/>
          <ac:picMkLst>
            <pc:docMk/>
            <pc:sldMk cId="57633349" sldId="258"/>
            <ac:picMk id="36" creationId="{0E64E755-5FFE-B654-D717-AB611657B0F1}"/>
          </ac:picMkLst>
        </pc:picChg>
        <pc:cxnChg chg="mod">
          <ac:chgData name="JOSE MARIA PINILLA VELAZQUEZ" userId="01005d95-6857-40cd-9c1f-40fa144a788f" providerId="ADAL" clId="{F94C15BE-A851-4F1A-BCCF-53D8FF39F8B6}" dt="2024-09-11T16:02:58.738" v="20" actId="1036"/>
          <ac:cxnSpMkLst>
            <pc:docMk/>
            <pc:sldMk cId="57633349" sldId="258"/>
            <ac:cxnSpMk id="38" creationId="{D2A5131A-0BD4-3E74-19A4-09FDFD8BE503}"/>
          </ac:cxnSpMkLst>
        </pc:cxnChg>
      </pc:sldChg>
    </pc:docChg>
  </pc:docChgLst>
  <pc:docChgLst>
    <pc:chgData name="ANDREA AQUILINO NAVARRO" userId="0293889c-ea1e-4639-a547-e42c7f2619ab" providerId="ADAL" clId="{17031769-9125-4D70-A4F7-3881CDE3A65F}"/>
    <pc:docChg chg="modSld">
      <pc:chgData name="ANDREA AQUILINO NAVARRO" userId="0293889c-ea1e-4639-a547-e42c7f2619ab" providerId="ADAL" clId="{17031769-9125-4D70-A4F7-3881CDE3A65F}" dt="2024-08-08T10:40:10.360" v="22" actId="20577"/>
      <pc:docMkLst>
        <pc:docMk/>
      </pc:docMkLst>
      <pc:sldChg chg="modSp mod">
        <pc:chgData name="ANDREA AQUILINO NAVARRO" userId="0293889c-ea1e-4639-a547-e42c7f2619ab" providerId="ADAL" clId="{17031769-9125-4D70-A4F7-3881CDE3A65F}" dt="2024-08-08T10:40:10.360" v="22" actId="20577"/>
        <pc:sldMkLst>
          <pc:docMk/>
          <pc:sldMk cId="218684418" sldId="257"/>
        </pc:sldMkLst>
        <pc:spChg chg="mod">
          <ac:chgData name="ANDREA AQUILINO NAVARRO" userId="0293889c-ea1e-4639-a547-e42c7f2619ab" providerId="ADAL" clId="{17031769-9125-4D70-A4F7-3881CDE3A65F}" dt="2024-08-08T10:39:59.574" v="12" actId="1035"/>
          <ac:spMkLst>
            <pc:docMk/>
            <pc:sldMk cId="218684418" sldId="257"/>
            <ac:spMk id="10" creationId="{E5D13480-4C6A-1FF5-F1D5-EC3AB9308B95}"/>
          </ac:spMkLst>
        </pc:spChg>
        <pc:spChg chg="mod">
          <ac:chgData name="ANDREA AQUILINO NAVARRO" userId="0293889c-ea1e-4639-a547-e42c7f2619ab" providerId="ADAL" clId="{17031769-9125-4D70-A4F7-3881CDE3A65F}" dt="2024-08-08T10:40:10.360" v="22" actId="20577"/>
          <ac:spMkLst>
            <pc:docMk/>
            <pc:sldMk cId="218684418" sldId="257"/>
            <ac:spMk id="12" creationId="{B5734B4D-CA6D-1A46-CB6C-15C86CC8F045}"/>
          </ac:spMkLst>
        </pc:spChg>
      </pc:sldChg>
      <pc:sldChg chg="modSp mod">
        <pc:chgData name="ANDREA AQUILINO NAVARRO" userId="0293889c-ea1e-4639-a547-e42c7f2619ab" providerId="ADAL" clId="{17031769-9125-4D70-A4F7-3881CDE3A65F}" dt="2024-08-08T10:30:03.380" v="1" actId="207"/>
        <pc:sldMkLst>
          <pc:docMk/>
          <pc:sldMk cId="1688088763" sldId="2147482521"/>
        </pc:sldMkLst>
        <pc:spChg chg="mod">
          <ac:chgData name="ANDREA AQUILINO NAVARRO" userId="0293889c-ea1e-4639-a547-e42c7f2619ab" providerId="ADAL" clId="{17031769-9125-4D70-A4F7-3881CDE3A65F}" dt="2024-08-08T10:30:03.380" v="1" actId="207"/>
          <ac:spMkLst>
            <pc:docMk/>
            <pc:sldMk cId="1688088763" sldId="2147482521"/>
            <ac:spMk id="88" creationId="{B4DE2B72-39F0-76E5-4E97-2AD51B1887FB}"/>
          </ac:spMkLst>
        </pc:spChg>
      </pc:sldChg>
    </pc:docChg>
  </pc:docChgLst>
  <pc:docChgLst>
    <pc:chgData name="JOSE MARIA PINILLA VELAZQUEZ" userId="01005d95-6857-40cd-9c1f-40fa144a788f" providerId="ADAL" clId="{820C9E9A-A19D-4ED5-AB33-3107A7CD92E6}"/>
    <pc:docChg chg="custSel modSld">
      <pc:chgData name="JOSE MARIA PINILLA VELAZQUEZ" userId="01005d95-6857-40cd-9c1f-40fa144a788f" providerId="ADAL" clId="{820C9E9A-A19D-4ED5-AB33-3107A7CD92E6}" dt="2024-08-30T10:04:19.299" v="10"/>
      <pc:docMkLst>
        <pc:docMk/>
      </pc:docMkLst>
      <pc:sldChg chg="addSp delSp modSp mod">
        <pc:chgData name="JOSE MARIA PINILLA VELAZQUEZ" userId="01005d95-6857-40cd-9c1f-40fa144a788f" providerId="ADAL" clId="{820C9E9A-A19D-4ED5-AB33-3107A7CD92E6}" dt="2024-08-30T10:04:15.578" v="9" actId="21"/>
        <pc:sldMkLst>
          <pc:docMk/>
          <pc:sldMk cId="218684418" sldId="257"/>
        </pc:sldMkLst>
        <pc:spChg chg="add del mod">
          <ac:chgData name="JOSE MARIA PINILLA VELAZQUEZ" userId="01005d95-6857-40cd-9c1f-40fa144a788f" providerId="ADAL" clId="{820C9E9A-A19D-4ED5-AB33-3107A7CD92E6}" dt="2024-08-30T10:04:15.578" v="9" actId="21"/>
          <ac:spMkLst>
            <pc:docMk/>
            <pc:sldMk cId="218684418" sldId="257"/>
            <ac:spMk id="3" creationId="{4C754D1C-DA91-F34E-EBF0-4CC07C6878B8}"/>
          </ac:spMkLst>
        </pc:spChg>
      </pc:sldChg>
      <pc:sldChg chg="addSp modSp">
        <pc:chgData name="JOSE MARIA PINILLA VELAZQUEZ" userId="01005d95-6857-40cd-9c1f-40fa144a788f" providerId="ADAL" clId="{820C9E9A-A19D-4ED5-AB33-3107A7CD92E6}" dt="2024-08-30T10:04:19.299" v="10"/>
        <pc:sldMkLst>
          <pc:docMk/>
          <pc:sldMk cId="3795967348" sldId="2147482502"/>
        </pc:sldMkLst>
        <pc:spChg chg="add mod">
          <ac:chgData name="JOSE MARIA PINILLA VELAZQUEZ" userId="01005d95-6857-40cd-9c1f-40fa144a788f" providerId="ADAL" clId="{820C9E9A-A19D-4ED5-AB33-3107A7CD92E6}" dt="2024-08-30T10:04:19.299" v="10"/>
          <ac:spMkLst>
            <pc:docMk/>
            <pc:sldMk cId="3795967348" sldId="2147482502"/>
            <ac:spMk id="18" creationId="{13661FF1-2255-9105-A355-96EF4BEFEF86}"/>
          </ac:spMkLst>
        </pc:spChg>
      </pc:sldChg>
      <pc:sldChg chg="addSp delSp modSp mod">
        <pc:chgData name="JOSE MARIA PINILLA VELAZQUEZ" userId="01005d95-6857-40cd-9c1f-40fa144a788f" providerId="ADAL" clId="{820C9E9A-A19D-4ED5-AB33-3107A7CD92E6}" dt="2024-08-30T10:03:42.394" v="5" actId="21"/>
        <pc:sldMkLst>
          <pc:docMk/>
          <pc:sldMk cId="1345338014" sldId="2147482504"/>
        </pc:sldMkLst>
        <pc:spChg chg="add del mod">
          <ac:chgData name="JOSE MARIA PINILLA VELAZQUEZ" userId="01005d95-6857-40cd-9c1f-40fa144a788f" providerId="ADAL" clId="{820C9E9A-A19D-4ED5-AB33-3107A7CD92E6}" dt="2024-08-30T10:03:42.394" v="5" actId="21"/>
          <ac:spMkLst>
            <pc:docMk/>
            <pc:sldMk cId="1345338014" sldId="2147482504"/>
            <ac:spMk id="16" creationId="{72D98ECB-576B-E636-DD5D-C8EF4606BA97}"/>
          </ac:spMkLst>
        </pc:spChg>
        <pc:spChg chg="add mod">
          <ac:chgData name="JOSE MARIA PINILLA VELAZQUEZ" userId="01005d95-6857-40cd-9c1f-40fa144a788f" providerId="ADAL" clId="{820C9E9A-A19D-4ED5-AB33-3107A7CD92E6}" dt="2024-08-30T10:03:36.803" v="4"/>
          <ac:spMkLst>
            <pc:docMk/>
            <pc:sldMk cId="1345338014" sldId="2147482504"/>
            <ac:spMk id="18" creationId="{296219A1-83F9-6E6E-21E4-3F97D51D5AD3}"/>
          </ac:spMkLst>
        </pc:spChg>
      </pc:sldChg>
    </pc:docChg>
  </pc:docChgLst>
  <pc:docChgLst>
    <pc:chgData name="JOSE MARIA PINILLA VELAZQUEZ" userId="01005d95-6857-40cd-9c1f-40fa144a788f" providerId="ADAL" clId="{6C0033B3-1863-4FF7-B347-7DE87BF4B6AD}"/>
    <pc:docChg chg="modSld">
      <pc:chgData name="JOSE MARIA PINILLA VELAZQUEZ" userId="01005d95-6857-40cd-9c1f-40fa144a788f" providerId="ADAL" clId="{6C0033B3-1863-4FF7-B347-7DE87BF4B6AD}" dt="2024-09-10T10:02:35.340" v="17" actId="1035"/>
      <pc:docMkLst>
        <pc:docMk/>
      </pc:docMkLst>
      <pc:sldChg chg="delSp modSp mod">
        <pc:chgData name="JOSE MARIA PINILLA VELAZQUEZ" userId="01005d95-6857-40cd-9c1f-40fa144a788f" providerId="ADAL" clId="{6C0033B3-1863-4FF7-B347-7DE87BF4B6AD}" dt="2024-09-10T10:02:35.340" v="17" actId="1035"/>
        <pc:sldMkLst>
          <pc:docMk/>
          <pc:sldMk cId="57633349" sldId="258"/>
        </pc:sldMkLst>
        <pc:spChg chg="del mod">
          <ac:chgData name="JOSE MARIA PINILLA VELAZQUEZ" userId="01005d95-6857-40cd-9c1f-40fa144a788f" providerId="ADAL" clId="{6C0033B3-1863-4FF7-B347-7DE87BF4B6AD}" dt="2024-09-10T10:02:28.618" v="2"/>
          <ac:spMkLst>
            <pc:docMk/>
            <pc:sldMk cId="57633349" sldId="258"/>
            <ac:spMk id="4" creationId="{7AA7AEC2-29D8-5A4E-605C-399947A97DBC}"/>
          </ac:spMkLst>
        </pc:spChg>
        <pc:spChg chg="mod">
          <ac:chgData name="JOSE MARIA PINILLA VELAZQUEZ" userId="01005d95-6857-40cd-9c1f-40fa144a788f" providerId="ADAL" clId="{6C0033B3-1863-4FF7-B347-7DE87BF4B6AD}" dt="2024-09-10T10:02:35.340" v="17" actId="1035"/>
          <ac:spMkLst>
            <pc:docMk/>
            <pc:sldMk cId="57633349" sldId="258"/>
            <ac:spMk id="64" creationId="{53C20FD9-A419-5D93-0724-512BE7CE1065}"/>
          </ac:spMkLst>
        </pc:spChg>
        <pc:spChg chg="mod">
          <ac:chgData name="JOSE MARIA PINILLA VELAZQUEZ" userId="01005d95-6857-40cd-9c1f-40fa144a788f" providerId="ADAL" clId="{6C0033B3-1863-4FF7-B347-7DE87BF4B6AD}" dt="2024-09-10T10:02:35.340" v="17" actId="1035"/>
          <ac:spMkLst>
            <pc:docMk/>
            <pc:sldMk cId="57633349" sldId="258"/>
            <ac:spMk id="65" creationId="{2038FFEE-9B2F-B881-0AE8-1770618E7273}"/>
          </ac:spMkLst>
        </pc:spChg>
      </pc:sldChg>
    </pc:docChg>
  </pc:docChgLst>
  <pc:docChgLst>
    <pc:chgData name="ANDREA AQUILINO NAVARRO" userId="0293889c-ea1e-4639-a547-e42c7f2619ab" providerId="ADAL" clId="{6193315D-13A7-4156-AFD0-4F599F80CCBF}"/>
    <pc:docChg chg="undo custSel addSld modSld">
      <pc:chgData name="ANDREA AQUILINO NAVARRO" userId="0293889c-ea1e-4639-a547-e42c7f2619ab" providerId="ADAL" clId="{6193315D-13A7-4156-AFD0-4F599F80CCBF}" dt="2024-08-07T12:30:42.526" v="3910" actId="1076"/>
      <pc:docMkLst>
        <pc:docMk/>
      </pc:docMkLst>
      <pc:sldChg chg="addSp delSp modSp add mod">
        <pc:chgData name="ANDREA AQUILINO NAVARRO" userId="0293889c-ea1e-4639-a547-e42c7f2619ab" providerId="ADAL" clId="{6193315D-13A7-4156-AFD0-4F599F80CCBF}" dt="2024-08-07T12:30:42.526" v="3910" actId="1076"/>
        <pc:sldMkLst>
          <pc:docMk/>
          <pc:sldMk cId="218684418" sldId="257"/>
        </pc:sldMkLst>
        <pc:spChg chg="mod">
          <ac:chgData name="ANDREA AQUILINO NAVARRO" userId="0293889c-ea1e-4639-a547-e42c7f2619ab" providerId="ADAL" clId="{6193315D-13A7-4156-AFD0-4F599F80CCBF}" dt="2024-08-07T09:12:48.733" v="2972" actId="20577"/>
          <ac:spMkLst>
            <pc:docMk/>
            <pc:sldMk cId="218684418" sldId="257"/>
            <ac:spMk id="2" creationId="{6088CBEE-6148-4B18-82AC-4C04C17835FD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3" creationId="{8A2F90B2-C468-B892-8824-3ABFA59524BB}"/>
          </ac:spMkLst>
        </pc:spChg>
        <pc:spChg chg="add mod">
          <ac:chgData name="ANDREA AQUILINO NAVARRO" userId="0293889c-ea1e-4639-a547-e42c7f2619ab" providerId="ADAL" clId="{6193315D-13A7-4156-AFD0-4F599F80CCBF}" dt="2024-08-07T09:15:14.536" v="3110" actId="1076"/>
          <ac:spMkLst>
            <pc:docMk/>
            <pc:sldMk cId="218684418" sldId="257"/>
            <ac:spMk id="4" creationId="{F0CFB614-13CA-A0B7-6D77-7EBED4867EE9}"/>
          </ac:spMkLst>
        </pc:spChg>
        <pc:spChg chg="add mod">
          <ac:chgData name="ANDREA AQUILINO NAVARRO" userId="0293889c-ea1e-4639-a547-e42c7f2619ab" providerId="ADAL" clId="{6193315D-13A7-4156-AFD0-4F599F80CCBF}" dt="2024-08-07T09:15:12.997" v="3109" actId="1076"/>
          <ac:spMkLst>
            <pc:docMk/>
            <pc:sldMk cId="218684418" sldId="257"/>
            <ac:spMk id="5" creationId="{DAE1A1F0-2E00-8406-1518-7F220CB67A98}"/>
          </ac:spMkLst>
        </pc:spChg>
        <pc:spChg chg="add mod">
          <ac:chgData name="ANDREA AQUILINO NAVARRO" userId="0293889c-ea1e-4639-a547-e42c7f2619ab" providerId="ADAL" clId="{6193315D-13A7-4156-AFD0-4F599F80CCBF}" dt="2024-08-07T12:30:42.526" v="3910" actId="1076"/>
          <ac:spMkLst>
            <pc:docMk/>
            <pc:sldMk cId="218684418" sldId="257"/>
            <ac:spMk id="6" creationId="{DFD218AF-FA1C-A93A-46FA-4F299BD9AB01}"/>
          </ac:spMkLst>
        </pc:spChg>
        <pc:spChg chg="add mod">
          <ac:chgData name="ANDREA AQUILINO NAVARRO" userId="0293889c-ea1e-4639-a547-e42c7f2619ab" providerId="ADAL" clId="{6193315D-13A7-4156-AFD0-4F599F80CCBF}" dt="2024-08-07T12:30:42.526" v="3910" actId="1076"/>
          <ac:spMkLst>
            <pc:docMk/>
            <pc:sldMk cId="218684418" sldId="257"/>
            <ac:spMk id="7" creationId="{6B822810-6C39-0C48-9D88-9850DDB1527E}"/>
          </ac:spMkLst>
        </pc:spChg>
        <pc:spChg chg="add mod">
          <ac:chgData name="ANDREA AQUILINO NAVARRO" userId="0293889c-ea1e-4639-a547-e42c7f2619ab" providerId="ADAL" clId="{6193315D-13A7-4156-AFD0-4F599F80CCBF}" dt="2024-08-07T12:30:21.428" v="3908" actId="1076"/>
          <ac:spMkLst>
            <pc:docMk/>
            <pc:sldMk cId="218684418" sldId="257"/>
            <ac:spMk id="8" creationId="{3EAB1101-789F-0D6C-C275-3D61D4DDC221}"/>
          </ac:spMkLst>
        </pc:spChg>
        <pc:spChg chg="add mod">
          <ac:chgData name="ANDREA AQUILINO NAVARRO" userId="0293889c-ea1e-4639-a547-e42c7f2619ab" providerId="ADAL" clId="{6193315D-13A7-4156-AFD0-4F599F80CCBF}" dt="2024-08-07T12:30:21.428" v="3908" actId="1076"/>
          <ac:spMkLst>
            <pc:docMk/>
            <pc:sldMk cId="218684418" sldId="257"/>
            <ac:spMk id="9" creationId="{005668CA-A249-C429-B861-B2E50EF96F2F}"/>
          </ac:spMkLst>
        </pc:spChg>
        <pc:spChg chg="add mod">
          <ac:chgData name="ANDREA AQUILINO NAVARRO" userId="0293889c-ea1e-4639-a547-e42c7f2619ab" providerId="ADAL" clId="{6193315D-13A7-4156-AFD0-4F599F80CCBF}" dt="2024-08-07T12:30:42.526" v="3910" actId="1076"/>
          <ac:spMkLst>
            <pc:docMk/>
            <pc:sldMk cId="218684418" sldId="257"/>
            <ac:spMk id="10" creationId="{E5D13480-4C6A-1FF5-F1D5-EC3AB9308B95}"/>
          </ac:spMkLst>
        </pc:spChg>
        <pc:spChg chg="add mod">
          <ac:chgData name="ANDREA AQUILINO NAVARRO" userId="0293889c-ea1e-4639-a547-e42c7f2619ab" providerId="ADAL" clId="{6193315D-13A7-4156-AFD0-4F599F80CCBF}" dt="2024-08-07T12:30:42.526" v="3910" actId="1076"/>
          <ac:spMkLst>
            <pc:docMk/>
            <pc:sldMk cId="218684418" sldId="257"/>
            <ac:spMk id="11" creationId="{C418FF23-8231-498E-E5A9-7596A3F9E3E8}"/>
          </ac:spMkLst>
        </pc:spChg>
        <pc:spChg chg="add mod">
          <ac:chgData name="ANDREA AQUILINO NAVARRO" userId="0293889c-ea1e-4639-a547-e42c7f2619ab" providerId="ADAL" clId="{6193315D-13A7-4156-AFD0-4F599F80CCBF}" dt="2024-08-07T12:30:21.428" v="3908" actId="1076"/>
          <ac:spMkLst>
            <pc:docMk/>
            <pc:sldMk cId="218684418" sldId="257"/>
            <ac:spMk id="12" creationId="{B5734B4D-CA6D-1A46-CB6C-15C86CC8F045}"/>
          </ac:spMkLst>
        </pc:spChg>
        <pc:spChg chg="add mod">
          <ac:chgData name="ANDREA AQUILINO NAVARRO" userId="0293889c-ea1e-4639-a547-e42c7f2619ab" providerId="ADAL" clId="{6193315D-13A7-4156-AFD0-4F599F80CCBF}" dt="2024-08-07T12:30:21.428" v="3908" actId="1076"/>
          <ac:spMkLst>
            <pc:docMk/>
            <pc:sldMk cId="218684418" sldId="257"/>
            <ac:spMk id="13" creationId="{BF384E31-3B4A-0C4D-CA08-91B199A752DA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16" creationId="{DF86176C-5D38-3572-3580-95DE6D496D81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18" creationId="{04D08C48-D3FE-E117-ABE6-D0B7D752C1C8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21" creationId="{8C1CB9E6-AD4D-079B-6DEB-5E088961D663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43" creationId="{95EEA815-39D2-3F86-FC97-D60D263E34D9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44" creationId="{025C5CA6-8057-856A-4857-974DFB743F9F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45" creationId="{01600F46-E6FF-98FC-D003-DAF366E4591F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46" creationId="{D2282ED6-9D30-0C22-9F72-EB9DBE7FB8FA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49" creationId="{7912C444-30EE-DB61-C726-BB1BA50884F7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50" creationId="{6485CD54-A6C2-411C-1080-E7419F34CB55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58" creationId="{1812F193-FFCD-0BE5-C748-9B7F6B873FBF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59" creationId="{392216ED-B8A1-EC3E-A883-25D174E9B6AB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64" creationId="{53C20FD9-A419-5D93-0724-512BE7CE1065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65" creationId="{2038FFEE-9B2F-B881-0AE8-1770618E7273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67" creationId="{7F5B0659-325C-0760-5652-65FB9F9F071B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68" creationId="{90153984-08E1-90CC-521B-2C6969B72912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70" creationId="{497A868D-792A-A5C7-20C3-3986EFC7D370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71" creationId="{402B427A-8640-7A2E-AC22-4905E479EFE3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74" creationId="{3DD40724-299E-02EA-ACBA-9AD618D5FF9A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75" creationId="{9B6E783C-2937-2A41-72B0-C2808CE8F85C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77" creationId="{0C09F91E-7BFD-80D1-4E85-C01A0E89EDC8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79" creationId="{53F91F6E-00A8-27D7-C0ED-FA4DEAFB8F91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81" creationId="{3E01B21E-6365-2EF0-DDFA-9BCA086B479F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82" creationId="{50B02E5D-984A-ECA4-9B70-819865CECADA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85" creationId="{F0A268FA-6F96-7590-96B6-2990D85F2D4F}"/>
          </ac:spMkLst>
        </pc:spChg>
        <pc:spChg chg="del">
          <ac:chgData name="ANDREA AQUILINO NAVARRO" userId="0293889c-ea1e-4639-a547-e42c7f2619ab" providerId="ADAL" clId="{6193315D-13A7-4156-AFD0-4F599F80CCBF}" dt="2024-08-07T09:12:31.062" v="2940" actId="478"/>
          <ac:spMkLst>
            <pc:docMk/>
            <pc:sldMk cId="218684418" sldId="257"/>
            <ac:spMk id="88" creationId="{B4DE2B72-39F0-76E5-4E97-2AD51B1887FB}"/>
          </ac:spMkLst>
        </pc:spChg>
        <pc:grpChg chg="del">
          <ac:chgData name="ANDREA AQUILINO NAVARRO" userId="0293889c-ea1e-4639-a547-e42c7f2619ab" providerId="ADAL" clId="{6193315D-13A7-4156-AFD0-4F599F80CCBF}" dt="2024-08-07T09:12:31.062" v="2940" actId="478"/>
          <ac:grpSpMkLst>
            <pc:docMk/>
            <pc:sldMk cId="218684418" sldId="257"/>
            <ac:grpSpMk id="29" creationId="{D1D05348-32D9-9D7D-CFDC-C6A95C17620A}"/>
          </ac:grpSpMkLst>
        </pc:grpChg>
        <pc:grpChg chg="del">
          <ac:chgData name="ANDREA AQUILINO NAVARRO" userId="0293889c-ea1e-4639-a547-e42c7f2619ab" providerId="ADAL" clId="{6193315D-13A7-4156-AFD0-4F599F80CCBF}" dt="2024-08-07T09:12:31.062" v="2940" actId="478"/>
          <ac:grpSpMkLst>
            <pc:docMk/>
            <pc:sldMk cId="218684418" sldId="257"/>
            <ac:grpSpMk id="32" creationId="{54DE0A80-C273-A684-76ED-BF1AFBCBE50F}"/>
          </ac:grpSpMkLst>
        </pc:grpChg>
        <pc:picChg chg="del">
          <ac:chgData name="ANDREA AQUILINO NAVARRO" userId="0293889c-ea1e-4639-a547-e42c7f2619ab" providerId="ADAL" clId="{6193315D-13A7-4156-AFD0-4F599F80CCBF}" dt="2024-08-07T09:12:31.062" v="2940" actId="478"/>
          <ac:picMkLst>
            <pc:docMk/>
            <pc:sldMk cId="218684418" sldId="257"/>
            <ac:picMk id="36" creationId="{0E64E755-5FFE-B654-D717-AB611657B0F1}"/>
          </ac:picMkLst>
        </pc:picChg>
        <pc:cxnChg chg="del">
          <ac:chgData name="ANDREA AQUILINO NAVARRO" userId="0293889c-ea1e-4639-a547-e42c7f2619ab" providerId="ADAL" clId="{6193315D-13A7-4156-AFD0-4F599F80CCBF}" dt="2024-08-07T09:12:31.062" v="2940" actId="478"/>
          <ac:cxnSpMkLst>
            <pc:docMk/>
            <pc:sldMk cId="218684418" sldId="257"/>
            <ac:cxnSpMk id="38" creationId="{D2A5131A-0BD4-3E74-19A4-09FDFD8BE503}"/>
          </ac:cxnSpMkLst>
        </pc:cxnChg>
        <pc:cxnChg chg="del">
          <ac:chgData name="ANDREA AQUILINO NAVARRO" userId="0293889c-ea1e-4639-a547-e42c7f2619ab" providerId="ADAL" clId="{6193315D-13A7-4156-AFD0-4F599F80CCBF}" dt="2024-08-07T09:12:31.062" v="2940" actId="478"/>
          <ac:cxnSpMkLst>
            <pc:docMk/>
            <pc:sldMk cId="218684418" sldId="257"/>
            <ac:cxnSpMk id="41" creationId="{EC8206B3-76D5-C821-6565-19501EC83DAF}"/>
          </ac:cxnSpMkLst>
        </pc:cxnChg>
        <pc:cxnChg chg="del">
          <ac:chgData name="ANDREA AQUILINO NAVARRO" userId="0293889c-ea1e-4639-a547-e42c7f2619ab" providerId="ADAL" clId="{6193315D-13A7-4156-AFD0-4F599F80CCBF}" dt="2024-08-07T09:12:31.062" v="2940" actId="478"/>
          <ac:cxnSpMkLst>
            <pc:docMk/>
            <pc:sldMk cId="218684418" sldId="257"/>
            <ac:cxnSpMk id="42" creationId="{9FBB1A6E-6EE6-72F0-B19C-44CEBEE015B0}"/>
          </ac:cxnSpMkLst>
        </pc:cxnChg>
      </pc:sldChg>
      <pc:sldChg chg="addSp modSp mod">
        <pc:chgData name="ANDREA AQUILINO NAVARRO" userId="0293889c-ea1e-4639-a547-e42c7f2619ab" providerId="ADAL" clId="{6193315D-13A7-4156-AFD0-4F599F80CCBF}" dt="2024-08-07T09:12:21.869" v="2938" actId="403"/>
        <pc:sldMkLst>
          <pc:docMk/>
          <pc:sldMk cId="1688088763" sldId="2147482521"/>
        </pc:sldMkLst>
        <pc:spChg chg="mod">
          <ac:chgData name="ANDREA AQUILINO NAVARRO" userId="0293889c-ea1e-4639-a547-e42c7f2619ab" providerId="ADAL" clId="{6193315D-13A7-4156-AFD0-4F599F80CCBF}" dt="2024-08-07T09:10:57.634" v="2927" actId="1076"/>
          <ac:spMkLst>
            <pc:docMk/>
            <pc:sldMk cId="1688088763" sldId="2147482521"/>
            <ac:spMk id="2" creationId="{6088CBEE-6148-4B18-82AC-4C04C17835FD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3" creationId="{8A2F90B2-C468-B892-8824-3ABFA59524BB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16" creationId="{DF86176C-5D38-3572-3580-95DE6D496D81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18" creationId="{04D08C48-D3FE-E117-ABE6-D0B7D752C1C8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21" creationId="{8C1CB9E6-AD4D-079B-6DEB-5E088961D663}"/>
          </ac:spMkLst>
        </pc:spChg>
        <pc:spChg chg="add mod">
          <ac:chgData name="ANDREA AQUILINO NAVARRO" userId="0293889c-ea1e-4639-a547-e42c7f2619ab" providerId="ADAL" clId="{6193315D-13A7-4156-AFD0-4F599F80CCBF}" dt="2024-08-07T08:30:33.055" v="356" actId="571"/>
          <ac:spMkLst>
            <pc:docMk/>
            <pc:sldMk cId="1688088763" sldId="2147482521"/>
            <ac:spMk id="25" creationId="{3A64512E-EB7A-F3CF-E1CB-88E3EABB9987}"/>
          </ac:spMkLst>
        </pc:spChg>
        <pc:spChg chg="add mod">
          <ac:chgData name="ANDREA AQUILINO NAVARRO" userId="0293889c-ea1e-4639-a547-e42c7f2619ab" providerId="ADAL" clId="{6193315D-13A7-4156-AFD0-4F599F80CCBF}" dt="2024-08-07T08:30:33.055" v="356" actId="571"/>
          <ac:spMkLst>
            <pc:docMk/>
            <pc:sldMk cId="1688088763" sldId="2147482521"/>
            <ac:spMk id="26" creationId="{3646555C-4335-3E45-4ABD-66AF1C12EF73}"/>
          </ac:spMkLst>
        </pc:spChg>
        <pc:spChg chg="add mod">
          <ac:chgData name="ANDREA AQUILINO NAVARRO" userId="0293889c-ea1e-4639-a547-e42c7f2619ab" providerId="ADAL" clId="{6193315D-13A7-4156-AFD0-4F599F80CCBF}" dt="2024-08-07T08:30:33.055" v="356" actId="571"/>
          <ac:spMkLst>
            <pc:docMk/>
            <pc:sldMk cId="1688088763" sldId="2147482521"/>
            <ac:spMk id="27" creationId="{E4715DAE-FA10-E326-4B0B-7344CB2C1D7C}"/>
          </ac:spMkLst>
        </pc:spChg>
        <pc:spChg chg="add mod">
          <ac:chgData name="ANDREA AQUILINO NAVARRO" userId="0293889c-ea1e-4639-a547-e42c7f2619ab" providerId="ADAL" clId="{6193315D-13A7-4156-AFD0-4F599F80CCBF}" dt="2024-08-07T08:30:33.055" v="356" actId="571"/>
          <ac:spMkLst>
            <pc:docMk/>
            <pc:sldMk cId="1688088763" sldId="2147482521"/>
            <ac:spMk id="28" creationId="{A136603C-1B5E-E49C-EBFF-3FA2ACF35605}"/>
          </ac:spMkLst>
        </pc:spChg>
        <pc:spChg chg="mod">
          <ac:chgData name="ANDREA AQUILINO NAVARRO" userId="0293889c-ea1e-4639-a547-e42c7f2619ab" providerId="ADAL" clId="{6193315D-13A7-4156-AFD0-4F599F80CCBF}" dt="2024-08-07T08:36:20.215" v="391" actId="403"/>
          <ac:spMkLst>
            <pc:docMk/>
            <pc:sldMk cId="1688088763" sldId="2147482521"/>
            <ac:spMk id="30" creationId="{86FF900E-B092-2B6A-F62B-9A1602A6E97F}"/>
          </ac:spMkLst>
        </pc:spChg>
        <pc:spChg chg="mod">
          <ac:chgData name="ANDREA AQUILINO NAVARRO" userId="0293889c-ea1e-4639-a547-e42c7f2619ab" providerId="ADAL" clId="{6193315D-13A7-4156-AFD0-4F599F80CCBF}" dt="2024-08-07T09:10:41.785" v="2922" actId="1076"/>
          <ac:spMkLst>
            <pc:docMk/>
            <pc:sldMk cId="1688088763" sldId="2147482521"/>
            <ac:spMk id="33" creationId="{69F4D657-7D5D-F3D4-A19E-E509F40B07A9}"/>
          </ac:spMkLst>
        </pc:spChg>
        <pc:spChg chg="add mod">
          <ac:chgData name="ANDREA AQUILINO NAVARRO" userId="0293889c-ea1e-4639-a547-e42c7f2619ab" providerId="ADAL" clId="{6193315D-13A7-4156-AFD0-4F599F80CCBF}" dt="2024-08-07T09:10:53.327" v="2926" actId="1076"/>
          <ac:spMkLst>
            <pc:docMk/>
            <pc:sldMk cId="1688088763" sldId="2147482521"/>
            <ac:spMk id="43" creationId="{95EEA815-39D2-3F86-FC97-D60D263E34D9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44" creationId="{025C5CA6-8057-856A-4857-974DFB743F9F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45" creationId="{01600F46-E6FF-98FC-D003-DAF366E4591F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46" creationId="{D2282ED6-9D30-0C22-9F72-EB9DBE7FB8FA}"/>
          </ac:spMkLst>
        </pc:spChg>
        <pc:spChg chg="add mod">
          <ac:chgData name="ANDREA AQUILINO NAVARRO" userId="0293889c-ea1e-4639-a547-e42c7f2619ab" providerId="ADAL" clId="{6193315D-13A7-4156-AFD0-4F599F80CCBF}" dt="2024-08-07T08:43:29.309" v="736" actId="571"/>
          <ac:spMkLst>
            <pc:docMk/>
            <pc:sldMk cId="1688088763" sldId="2147482521"/>
            <ac:spMk id="47" creationId="{84938E77-1245-2A00-3A60-0BFD88EEDA50}"/>
          </ac:spMkLst>
        </pc:spChg>
        <pc:spChg chg="add mod">
          <ac:chgData name="ANDREA AQUILINO NAVARRO" userId="0293889c-ea1e-4639-a547-e42c7f2619ab" providerId="ADAL" clId="{6193315D-13A7-4156-AFD0-4F599F80CCBF}" dt="2024-08-07T08:43:29.309" v="736" actId="571"/>
          <ac:spMkLst>
            <pc:docMk/>
            <pc:sldMk cId="1688088763" sldId="2147482521"/>
            <ac:spMk id="48" creationId="{557CD8AF-FD49-89C9-B2B2-85E2FEBEB9DD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49" creationId="{7912C444-30EE-DB61-C726-BB1BA50884F7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50" creationId="{6485CD54-A6C2-411C-1080-E7419F34CB55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58" creationId="{1812F193-FFCD-0BE5-C748-9B7F6B873FBF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59" creationId="{392216ED-B8A1-EC3E-A883-25D174E9B6AB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64" creationId="{53C20FD9-A419-5D93-0724-512BE7CE1065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65" creationId="{2038FFEE-9B2F-B881-0AE8-1770618E7273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67" creationId="{7F5B0659-325C-0760-5652-65FB9F9F071B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68" creationId="{90153984-08E1-90CC-521B-2C6969B72912}"/>
          </ac:spMkLst>
        </pc:spChg>
        <pc:spChg chg="add mod">
          <ac:chgData name="ANDREA AQUILINO NAVARRO" userId="0293889c-ea1e-4639-a547-e42c7f2619ab" providerId="ADAL" clId="{6193315D-13A7-4156-AFD0-4F599F80CCBF}" dt="2024-08-07T09:12:21.869" v="2938" actId="403"/>
          <ac:spMkLst>
            <pc:docMk/>
            <pc:sldMk cId="1688088763" sldId="2147482521"/>
            <ac:spMk id="70" creationId="{497A868D-792A-A5C7-20C3-3986EFC7D370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71" creationId="{402B427A-8640-7A2E-AC22-4905E479EFE3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74" creationId="{3DD40724-299E-02EA-ACBA-9AD618D5FF9A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75" creationId="{9B6E783C-2937-2A41-72B0-C2808CE8F85C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77" creationId="{0C09F91E-7BFD-80D1-4E85-C01A0E89EDC8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79" creationId="{53F91F6E-00A8-27D7-C0ED-FA4DEAFB8F91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81" creationId="{3E01B21E-6365-2EF0-DDFA-9BCA086B479F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82" creationId="{50B02E5D-984A-ECA4-9B70-819865CECADA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85" creationId="{F0A268FA-6F96-7590-96B6-2990D85F2D4F}"/>
          </ac:spMkLst>
        </pc:spChg>
        <pc:spChg chg="add mod">
          <ac:chgData name="ANDREA AQUILINO NAVARRO" userId="0293889c-ea1e-4639-a547-e42c7f2619ab" providerId="ADAL" clId="{6193315D-13A7-4156-AFD0-4F599F80CCBF}" dt="2024-08-07T09:10:31.743" v="2921" actId="1037"/>
          <ac:spMkLst>
            <pc:docMk/>
            <pc:sldMk cId="1688088763" sldId="2147482521"/>
            <ac:spMk id="88" creationId="{B4DE2B72-39F0-76E5-4E97-2AD51B1887FB}"/>
          </ac:spMkLst>
        </pc:spChg>
        <pc:grpChg chg="add mod">
          <ac:chgData name="ANDREA AQUILINO NAVARRO" userId="0293889c-ea1e-4639-a547-e42c7f2619ab" providerId="ADAL" clId="{6193315D-13A7-4156-AFD0-4F599F80CCBF}" dt="2024-08-07T09:11:11.823" v="2936" actId="1037"/>
          <ac:grpSpMkLst>
            <pc:docMk/>
            <pc:sldMk cId="1688088763" sldId="2147482521"/>
            <ac:grpSpMk id="29" creationId="{D1D05348-32D9-9D7D-CFDC-C6A95C17620A}"/>
          </ac:grpSpMkLst>
        </pc:grpChg>
        <pc:grpChg chg="add mod">
          <ac:chgData name="ANDREA AQUILINO NAVARRO" userId="0293889c-ea1e-4639-a547-e42c7f2619ab" providerId="ADAL" clId="{6193315D-13A7-4156-AFD0-4F599F80CCBF}" dt="2024-08-07T09:11:11.823" v="2936" actId="1037"/>
          <ac:grpSpMkLst>
            <pc:docMk/>
            <pc:sldMk cId="1688088763" sldId="2147482521"/>
            <ac:grpSpMk id="32" creationId="{54DE0A80-C273-A684-76ED-BF1AFBCBE50F}"/>
          </ac:grpSpMkLst>
        </pc:grpChg>
        <pc:picChg chg="mod">
          <ac:chgData name="ANDREA AQUILINO NAVARRO" userId="0293889c-ea1e-4639-a547-e42c7f2619ab" providerId="ADAL" clId="{6193315D-13A7-4156-AFD0-4F599F80CCBF}" dt="2024-08-07T08:36:31.172" v="399" actId="1036"/>
          <ac:picMkLst>
            <pc:docMk/>
            <pc:sldMk cId="1688088763" sldId="2147482521"/>
            <ac:picMk id="31" creationId="{5DC128D5-B62F-CBB8-A202-6CC2B92436D1}"/>
          </ac:picMkLst>
        </pc:picChg>
        <pc:picChg chg="mod">
          <ac:chgData name="ANDREA AQUILINO NAVARRO" userId="0293889c-ea1e-4639-a547-e42c7f2619ab" providerId="ADAL" clId="{6193315D-13A7-4156-AFD0-4F599F80CCBF}" dt="2024-08-07T08:34:46.996" v="362"/>
          <ac:picMkLst>
            <pc:docMk/>
            <pc:sldMk cId="1688088763" sldId="2147482521"/>
            <ac:picMk id="34" creationId="{6BEB500A-3BBB-E293-110E-B0CA697DACB8}"/>
          </ac:picMkLst>
        </pc:picChg>
        <pc:picChg chg="add mod">
          <ac:chgData name="ANDREA AQUILINO NAVARRO" userId="0293889c-ea1e-4639-a547-e42c7f2619ab" providerId="ADAL" clId="{6193315D-13A7-4156-AFD0-4F599F80CCBF}" dt="2024-08-07T09:11:11.823" v="2936" actId="1037"/>
          <ac:picMkLst>
            <pc:docMk/>
            <pc:sldMk cId="1688088763" sldId="2147482521"/>
            <ac:picMk id="36" creationId="{0E64E755-5FFE-B654-D717-AB611657B0F1}"/>
          </ac:picMkLst>
        </pc:picChg>
        <pc:cxnChg chg="add mod">
          <ac:chgData name="ANDREA AQUILINO NAVARRO" userId="0293889c-ea1e-4639-a547-e42c7f2619ab" providerId="ADAL" clId="{6193315D-13A7-4156-AFD0-4F599F80CCBF}" dt="2024-08-07T09:10:31.743" v="2921" actId="1037"/>
          <ac:cxnSpMkLst>
            <pc:docMk/>
            <pc:sldMk cId="1688088763" sldId="2147482521"/>
            <ac:cxnSpMk id="38" creationId="{D2A5131A-0BD4-3E74-19A4-09FDFD8BE503}"/>
          </ac:cxnSpMkLst>
        </pc:cxnChg>
        <pc:cxnChg chg="add mod">
          <ac:chgData name="ANDREA AQUILINO NAVARRO" userId="0293889c-ea1e-4639-a547-e42c7f2619ab" providerId="ADAL" clId="{6193315D-13A7-4156-AFD0-4F599F80CCBF}" dt="2024-08-07T09:10:31.743" v="2921" actId="1037"/>
          <ac:cxnSpMkLst>
            <pc:docMk/>
            <pc:sldMk cId="1688088763" sldId="2147482521"/>
            <ac:cxnSpMk id="41" creationId="{EC8206B3-76D5-C821-6565-19501EC83DAF}"/>
          </ac:cxnSpMkLst>
        </pc:cxnChg>
        <pc:cxnChg chg="add mod">
          <ac:chgData name="ANDREA AQUILINO NAVARRO" userId="0293889c-ea1e-4639-a547-e42c7f2619ab" providerId="ADAL" clId="{6193315D-13A7-4156-AFD0-4F599F80CCBF}" dt="2024-08-07T09:10:31.743" v="2921" actId="1037"/>
          <ac:cxnSpMkLst>
            <pc:docMk/>
            <pc:sldMk cId="1688088763" sldId="2147482521"/>
            <ac:cxnSpMk id="42" creationId="{9FBB1A6E-6EE6-72F0-B19C-44CEBEE015B0}"/>
          </ac:cxnSpMkLst>
        </pc:cxnChg>
      </pc:sldChg>
    </pc:docChg>
  </pc:docChgLst>
  <pc:docChgLst>
    <pc:chgData name="JOSE MARIA PINILLA VELAZQUEZ" userId="01005d95-6857-40cd-9c1f-40fa144a788f" providerId="ADAL" clId="{D559CF09-3131-428B-A8DE-5DFEF1FD0201}"/>
    <pc:docChg chg="modSld">
      <pc:chgData name="JOSE MARIA PINILLA VELAZQUEZ" userId="01005d95-6857-40cd-9c1f-40fa144a788f" providerId="ADAL" clId="{D559CF09-3131-428B-A8DE-5DFEF1FD0201}" dt="2024-09-12T11:25:47.189" v="17" actId="255"/>
      <pc:docMkLst>
        <pc:docMk/>
      </pc:docMkLst>
      <pc:sldChg chg="modSp mod">
        <pc:chgData name="JOSE MARIA PINILLA VELAZQUEZ" userId="01005d95-6857-40cd-9c1f-40fa144a788f" providerId="ADAL" clId="{D559CF09-3131-428B-A8DE-5DFEF1FD0201}" dt="2024-09-12T11:25:47.189" v="17" actId="255"/>
        <pc:sldMkLst>
          <pc:docMk/>
          <pc:sldMk cId="3385647782" sldId="2147482503"/>
        </pc:sldMkLst>
        <pc:spChg chg="mod">
          <ac:chgData name="JOSE MARIA PINILLA VELAZQUEZ" userId="01005d95-6857-40cd-9c1f-40fa144a788f" providerId="ADAL" clId="{D559CF09-3131-428B-A8DE-5DFEF1FD0201}" dt="2024-09-12T11:25:47.189" v="17" actId="255"/>
          <ac:spMkLst>
            <pc:docMk/>
            <pc:sldMk cId="3385647782" sldId="2147482503"/>
            <ac:spMk id="11" creationId="{179E7725-3B96-43E4-0023-358C0975FD8E}"/>
          </ac:spMkLst>
        </pc:spChg>
      </pc:sldChg>
    </pc:docChg>
  </pc:docChgLst>
  <pc:docChgLst>
    <pc:chgData name="BARBARA MARQUEZ GARCIA" userId="4831918d-c4e7-4919-bf77-ea0b0d614b68" providerId="ADAL" clId="{19D1E83D-183C-40E4-8166-6A5E6DE465C1}"/>
    <pc:docChg chg="undo custSel modSld">
      <pc:chgData name="BARBARA MARQUEZ GARCIA" userId="4831918d-c4e7-4919-bf77-ea0b0d614b68" providerId="ADAL" clId="{19D1E83D-183C-40E4-8166-6A5E6DE465C1}" dt="2024-08-08T10:42:59.187" v="517" actId="1076"/>
      <pc:docMkLst>
        <pc:docMk/>
      </pc:docMkLst>
      <pc:sldChg chg="addSp delSp modSp mod">
        <pc:chgData name="BARBARA MARQUEZ GARCIA" userId="4831918d-c4e7-4919-bf77-ea0b0d614b68" providerId="ADAL" clId="{19D1E83D-183C-40E4-8166-6A5E6DE465C1}" dt="2024-08-08T10:42:59.187" v="517" actId="1076"/>
        <pc:sldMkLst>
          <pc:docMk/>
          <pc:sldMk cId="218684418" sldId="257"/>
        </pc:sldMkLst>
        <pc:spChg chg="mod">
          <ac:chgData name="BARBARA MARQUEZ GARCIA" userId="4831918d-c4e7-4919-bf77-ea0b0d614b68" providerId="ADAL" clId="{19D1E83D-183C-40E4-8166-6A5E6DE465C1}" dt="2024-08-08T10:09:32.822" v="366" actId="1035"/>
          <ac:spMkLst>
            <pc:docMk/>
            <pc:sldMk cId="218684418" sldId="257"/>
            <ac:spMk id="4" creationId="{F0CFB614-13CA-A0B7-6D77-7EBED4867EE9}"/>
          </ac:spMkLst>
        </pc:spChg>
        <pc:spChg chg="mod">
          <ac:chgData name="BARBARA MARQUEZ GARCIA" userId="4831918d-c4e7-4919-bf77-ea0b0d614b68" providerId="ADAL" clId="{19D1E83D-183C-40E4-8166-6A5E6DE465C1}" dt="2024-08-08T10:27:18.247" v="382" actId="14100"/>
          <ac:spMkLst>
            <pc:docMk/>
            <pc:sldMk cId="218684418" sldId="257"/>
            <ac:spMk id="5" creationId="{DAE1A1F0-2E00-8406-1518-7F220CB67A98}"/>
          </ac:spMkLst>
        </pc:spChg>
        <pc:spChg chg="mod">
          <ac:chgData name="BARBARA MARQUEZ GARCIA" userId="4831918d-c4e7-4919-bf77-ea0b0d614b68" providerId="ADAL" clId="{19D1E83D-183C-40E4-8166-6A5E6DE465C1}" dt="2024-08-08T10:09:32.822" v="366" actId="1035"/>
          <ac:spMkLst>
            <pc:docMk/>
            <pc:sldMk cId="218684418" sldId="257"/>
            <ac:spMk id="6" creationId="{DFD218AF-FA1C-A93A-46FA-4F299BD9AB01}"/>
          </ac:spMkLst>
        </pc:spChg>
        <pc:spChg chg="mod">
          <ac:chgData name="BARBARA MARQUEZ GARCIA" userId="4831918d-c4e7-4919-bf77-ea0b0d614b68" providerId="ADAL" clId="{19D1E83D-183C-40E4-8166-6A5E6DE465C1}" dt="2024-08-08T10:40:01.635" v="493" actId="1036"/>
          <ac:spMkLst>
            <pc:docMk/>
            <pc:sldMk cId="218684418" sldId="257"/>
            <ac:spMk id="7" creationId="{6B822810-6C39-0C48-9D88-9850DDB1527E}"/>
          </ac:spMkLst>
        </pc:spChg>
        <pc:spChg chg="mod">
          <ac:chgData name="BARBARA MARQUEZ GARCIA" userId="4831918d-c4e7-4919-bf77-ea0b0d614b68" providerId="ADAL" clId="{19D1E83D-183C-40E4-8166-6A5E6DE465C1}" dt="2024-08-08T10:27:10.780" v="380" actId="1076"/>
          <ac:spMkLst>
            <pc:docMk/>
            <pc:sldMk cId="218684418" sldId="257"/>
            <ac:spMk id="8" creationId="{3EAB1101-789F-0D6C-C275-3D61D4DDC221}"/>
          </ac:spMkLst>
        </pc:spChg>
        <pc:spChg chg="mod">
          <ac:chgData name="BARBARA MARQUEZ GARCIA" userId="4831918d-c4e7-4919-bf77-ea0b0d614b68" providerId="ADAL" clId="{19D1E83D-183C-40E4-8166-6A5E6DE465C1}" dt="2024-08-08T10:40:22.098" v="494" actId="1076"/>
          <ac:spMkLst>
            <pc:docMk/>
            <pc:sldMk cId="218684418" sldId="257"/>
            <ac:spMk id="9" creationId="{005668CA-A249-C429-B861-B2E50EF96F2F}"/>
          </ac:spMkLst>
        </pc:spChg>
        <pc:spChg chg="mod">
          <ac:chgData name="BARBARA MARQUEZ GARCIA" userId="4831918d-c4e7-4919-bf77-ea0b0d614b68" providerId="ADAL" clId="{19D1E83D-183C-40E4-8166-6A5E6DE465C1}" dt="2024-08-08T10:42:13.495" v="516" actId="20577"/>
          <ac:spMkLst>
            <pc:docMk/>
            <pc:sldMk cId="218684418" sldId="257"/>
            <ac:spMk id="10" creationId="{E5D13480-4C6A-1FF5-F1D5-EC3AB9308B95}"/>
          </ac:spMkLst>
        </pc:spChg>
        <pc:spChg chg="mod">
          <ac:chgData name="BARBARA MARQUEZ GARCIA" userId="4831918d-c4e7-4919-bf77-ea0b0d614b68" providerId="ADAL" clId="{19D1E83D-183C-40E4-8166-6A5E6DE465C1}" dt="2024-08-08T10:42:59.187" v="517" actId="1076"/>
          <ac:spMkLst>
            <pc:docMk/>
            <pc:sldMk cId="218684418" sldId="257"/>
            <ac:spMk id="11" creationId="{C418FF23-8231-498E-E5A9-7596A3F9E3E8}"/>
          </ac:spMkLst>
        </pc:spChg>
        <pc:spChg chg="mod">
          <ac:chgData name="BARBARA MARQUEZ GARCIA" userId="4831918d-c4e7-4919-bf77-ea0b0d614b68" providerId="ADAL" clId="{19D1E83D-183C-40E4-8166-6A5E6DE465C1}" dt="2024-08-08T10:36:08.486" v="410" actId="113"/>
          <ac:spMkLst>
            <pc:docMk/>
            <pc:sldMk cId="218684418" sldId="257"/>
            <ac:spMk id="12" creationId="{B5734B4D-CA6D-1A46-CB6C-15C86CC8F045}"/>
          </ac:spMkLst>
        </pc:spChg>
        <pc:spChg chg="mod">
          <ac:chgData name="BARBARA MARQUEZ GARCIA" userId="4831918d-c4e7-4919-bf77-ea0b0d614b68" providerId="ADAL" clId="{19D1E83D-183C-40E4-8166-6A5E6DE465C1}" dt="2024-08-08T10:40:01.635" v="493" actId="1036"/>
          <ac:spMkLst>
            <pc:docMk/>
            <pc:sldMk cId="218684418" sldId="257"/>
            <ac:spMk id="13" creationId="{BF384E31-3B4A-0C4D-CA08-91B199A752DA}"/>
          </ac:spMkLst>
        </pc:spChg>
        <pc:spChg chg="add mod">
          <ac:chgData name="BARBARA MARQUEZ GARCIA" userId="4831918d-c4e7-4919-bf77-ea0b0d614b68" providerId="ADAL" clId="{19D1E83D-183C-40E4-8166-6A5E6DE465C1}" dt="2024-08-08T10:11:21.301" v="370" actId="1076"/>
          <ac:spMkLst>
            <pc:docMk/>
            <pc:sldMk cId="218684418" sldId="257"/>
            <ac:spMk id="14" creationId="{9F7B95C0-6381-1D0D-D0ED-9B642811B73A}"/>
          </ac:spMkLst>
        </pc:spChg>
        <pc:spChg chg="add mod">
          <ac:chgData name="BARBARA MARQUEZ GARCIA" userId="4831918d-c4e7-4919-bf77-ea0b0d614b68" providerId="ADAL" clId="{19D1E83D-183C-40E4-8166-6A5E6DE465C1}" dt="2024-08-08T10:25:02.862" v="379" actId="1035"/>
          <ac:spMkLst>
            <pc:docMk/>
            <pc:sldMk cId="218684418" sldId="257"/>
            <ac:spMk id="15" creationId="{2A22EC16-AA38-504B-51A8-9116331E1855}"/>
          </ac:spMkLst>
        </pc:spChg>
        <pc:spChg chg="add del mod ord">
          <ac:chgData name="BARBARA MARQUEZ GARCIA" userId="4831918d-c4e7-4919-bf77-ea0b0d614b68" providerId="ADAL" clId="{19D1E83D-183C-40E4-8166-6A5E6DE465C1}" dt="2024-08-08T10:24:29.276" v="374" actId="478"/>
          <ac:spMkLst>
            <pc:docMk/>
            <pc:sldMk cId="218684418" sldId="257"/>
            <ac:spMk id="21" creationId="{523DC113-BE40-9C8D-05E7-95C201F1E32C}"/>
          </ac:spMkLst>
        </pc:spChg>
        <pc:spChg chg="add mod ord">
          <ac:chgData name="BARBARA MARQUEZ GARCIA" userId="4831918d-c4e7-4919-bf77-ea0b0d614b68" providerId="ADAL" clId="{19D1E83D-183C-40E4-8166-6A5E6DE465C1}" dt="2024-08-08T10:24:38.842" v="375" actId="14100"/>
          <ac:spMkLst>
            <pc:docMk/>
            <pc:sldMk cId="218684418" sldId="257"/>
            <ac:spMk id="22" creationId="{7AF955A8-B09A-83E1-18B7-5A2395D3E177}"/>
          </ac:spMkLst>
        </pc:spChg>
        <pc:spChg chg="add del mod">
          <ac:chgData name="BARBARA MARQUEZ GARCIA" userId="4831918d-c4e7-4919-bf77-ea0b0d614b68" providerId="ADAL" clId="{19D1E83D-183C-40E4-8166-6A5E6DE465C1}" dt="2024-08-08T10:24:18.353" v="373" actId="478"/>
          <ac:spMkLst>
            <pc:docMk/>
            <pc:sldMk cId="218684418" sldId="257"/>
            <ac:spMk id="23" creationId="{2326D9BB-15A1-21AE-CDD8-3B1CD16523F8}"/>
          </ac:spMkLst>
        </pc:spChg>
        <pc:spChg chg="add mod ord">
          <ac:chgData name="BARBARA MARQUEZ GARCIA" userId="4831918d-c4e7-4919-bf77-ea0b0d614b68" providerId="ADAL" clId="{19D1E83D-183C-40E4-8166-6A5E6DE465C1}" dt="2024-08-08T10:24:54.343" v="378" actId="167"/>
          <ac:spMkLst>
            <pc:docMk/>
            <pc:sldMk cId="218684418" sldId="257"/>
            <ac:spMk id="24" creationId="{4EA53342-8D4E-33AC-3E52-393F8B59564E}"/>
          </ac:spMkLst>
        </pc:spChg>
        <pc:cxnChg chg="add mod">
          <ac:chgData name="BARBARA MARQUEZ GARCIA" userId="4831918d-c4e7-4919-bf77-ea0b0d614b68" providerId="ADAL" clId="{19D1E83D-183C-40E4-8166-6A5E6DE465C1}" dt="2024-08-08T10:40:01.635" v="493" actId="1036"/>
          <ac:cxnSpMkLst>
            <pc:docMk/>
            <pc:sldMk cId="218684418" sldId="257"/>
            <ac:cxnSpMk id="17" creationId="{948AB3A9-6BF2-5207-0988-105C218B50D2}"/>
          </ac:cxnSpMkLst>
        </pc:cxnChg>
        <pc:cxnChg chg="add mod">
          <ac:chgData name="BARBARA MARQUEZ GARCIA" userId="4831918d-c4e7-4919-bf77-ea0b0d614b68" providerId="ADAL" clId="{19D1E83D-183C-40E4-8166-6A5E6DE465C1}" dt="2024-08-08T10:40:01.635" v="493" actId="1036"/>
          <ac:cxnSpMkLst>
            <pc:docMk/>
            <pc:sldMk cId="218684418" sldId="257"/>
            <ac:cxnSpMk id="18" creationId="{AE257C67-359E-8D36-B19A-8CC68916AABB}"/>
          </ac:cxnSpMkLst>
        </pc:cxnChg>
      </pc:sldChg>
      <pc:sldChg chg="addSp modSp mod">
        <pc:chgData name="BARBARA MARQUEZ GARCIA" userId="4831918d-c4e7-4919-bf77-ea0b0d614b68" providerId="ADAL" clId="{19D1E83D-183C-40E4-8166-6A5E6DE465C1}" dt="2024-08-08T10:34:51.216" v="409" actId="114"/>
        <pc:sldMkLst>
          <pc:docMk/>
          <pc:sldMk cId="1688088763" sldId="2147482521"/>
        </pc:sldMkLst>
        <pc:spChg chg="mod">
          <ac:chgData name="BARBARA MARQUEZ GARCIA" userId="4831918d-c4e7-4919-bf77-ea0b0d614b68" providerId="ADAL" clId="{19D1E83D-183C-40E4-8166-6A5E6DE465C1}" dt="2024-08-08T10:29:50.390" v="384" actId="1076"/>
          <ac:spMkLst>
            <pc:docMk/>
            <pc:sldMk cId="1688088763" sldId="2147482521"/>
            <ac:spMk id="3" creationId="{8A2F90B2-C468-B892-8824-3ABFA59524BB}"/>
          </ac:spMkLst>
        </pc:spChg>
        <pc:spChg chg="add mod">
          <ac:chgData name="BARBARA MARQUEZ GARCIA" userId="4831918d-c4e7-4919-bf77-ea0b0d614b68" providerId="ADAL" clId="{19D1E83D-183C-40E4-8166-6A5E6DE465C1}" dt="2024-08-08T10:31:48.425" v="403" actId="1076"/>
          <ac:spMkLst>
            <pc:docMk/>
            <pc:sldMk cId="1688088763" sldId="2147482521"/>
            <ac:spMk id="5" creationId="{C7536506-39E6-962C-6717-6F2AB51212ED}"/>
          </ac:spMkLst>
        </pc:spChg>
        <pc:spChg chg="mod">
          <ac:chgData name="BARBARA MARQUEZ GARCIA" userId="4831918d-c4e7-4919-bf77-ea0b0d614b68" providerId="ADAL" clId="{19D1E83D-183C-40E4-8166-6A5E6DE465C1}" dt="2024-08-08T09:37:04.492" v="54" actId="1035"/>
          <ac:spMkLst>
            <pc:docMk/>
            <pc:sldMk cId="1688088763" sldId="2147482521"/>
            <ac:spMk id="16" creationId="{DF86176C-5D38-3572-3580-95DE6D496D81}"/>
          </ac:spMkLst>
        </pc:spChg>
        <pc:spChg chg="mod">
          <ac:chgData name="BARBARA MARQUEZ GARCIA" userId="4831918d-c4e7-4919-bf77-ea0b0d614b68" providerId="ADAL" clId="{19D1E83D-183C-40E4-8166-6A5E6DE465C1}" dt="2024-08-08T10:30:04.002" v="386" actId="1076"/>
          <ac:spMkLst>
            <pc:docMk/>
            <pc:sldMk cId="1688088763" sldId="2147482521"/>
            <ac:spMk id="18" creationId="{04D08C48-D3FE-E117-ABE6-D0B7D752C1C8}"/>
          </ac:spMkLst>
        </pc:spChg>
        <pc:spChg chg="mod">
          <ac:chgData name="BARBARA MARQUEZ GARCIA" userId="4831918d-c4e7-4919-bf77-ea0b0d614b68" providerId="ADAL" clId="{19D1E83D-183C-40E4-8166-6A5E6DE465C1}" dt="2024-08-08T09:37:04.492" v="54" actId="1035"/>
          <ac:spMkLst>
            <pc:docMk/>
            <pc:sldMk cId="1688088763" sldId="2147482521"/>
            <ac:spMk id="21" creationId="{8C1CB9E6-AD4D-079B-6DEB-5E088961D663}"/>
          </ac:spMkLst>
        </pc:spChg>
        <pc:spChg chg="mod">
          <ac:chgData name="BARBARA MARQUEZ GARCIA" userId="4831918d-c4e7-4919-bf77-ea0b0d614b68" providerId="ADAL" clId="{19D1E83D-183C-40E4-8166-6A5E6DE465C1}" dt="2024-08-08T09:36:47.207" v="40" actId="1076"/>
          <ac:spMkLst>
            <pc:docMk/>
            <pc:sldMk cId="1688088763" sldId="2147482521"/>
            <ac:spMk id="30" creationId="{86FF900E-B092-2B6A-F62B-9A1602A6E97F}"/>
          </ac:spMkLst>
        </pc:spChg>
        <pc:spChg chg="mod">
          <ac:chgData name="BARBARA MARQUEZ GARCIA" userId="4831918d-c4e7-4919-bf77-ea0b0d614b68" providerId="ADAL" clId="{19D1E83D-183C-40E4-8166-6A5E6DE465C1}" dt="2024-08-08T09:36:54.418" v="43" actId="1076"/>
          <ac:spMkLst>
            <pc:docMk/>
            <pc:sldMk cId="1688088763" sldId="2147482521"/>
            <ac:spMk id="33" creationId="{69F4D657-7D5D-F3D4-A19E-E509F40B07A9}"/>
          </ac:spMkLst>
        </pc:spChg>
        <pc:spChg chg="mod">
          <ac:chgData name="BARBARA MARQUEZ GARCIA" userId="4831918d-c4e7-4919-bf77-ea0b0d614b68" providerId="ADAL" clId="{19D1E83D-183C-40E4-8166-6A5E6DE465C1}" dt="2024-08-08T09:42:20.115" v="229" actId="6549"/>
          <ac:spMkLst>
            <pc:docMk/>
            <pc:sldMk cId="1688088763" sldId="2147482521"/>
            <ac:spMk id="43" creationId="{95EEA815-39D2-3F86-FC97-D60D263E34D9}"/>
          </ac:spMkLst>
        </pc:spChg>
        <pc:spChg chg="mod">
          <ac:chgData name="BARBARA MARQUEZ GARCIA" userId="4831918d-c4e7-4919-bf77-ea0b0d614b68" providerId="ADAL" clId="{19D1E83D-183C-40E4-8166-6A5E6DE465C1}" dt="2024-08-08T09:37:04.492" v="54" actId="1035"/>
          <ac:spMkLst>
            <pc:docMk/>
            <pc:sldMk cId="1688088763" sldId="2147482521"/>
            <ac:spMk id="44" creationId="{025C5CA6-8057-856A-4857-974DFB743F9F}"/>
          </ac:spMkLst>
        </pc:spChg>
        <pc:spChg chg="mod">
          <ac:chgData name="BARBARA MARQUEZ GARCIA" userId="4831918d-c4e7-4919-bf77-ea0b0d614b68" providerId="ADAL" clId="{19D1E83D-183C-40E4-8166-6A5E6DE465C1}" dt="2024-08-08T09:37:04.492" v="54" actId="1035"/>
          <ac:spMkLst>
            <pc:docMk/>
            <pc:sldMk cId="1688088763" sldId="2147482521"/>
            <ac:spMk id="45" creationId="{01600F46-E6FF-98FC-D003-DAF366E4591F}"/>
          </ac:spMkLst>
        </pc:spChg>
        <pc:spChg chg="mod">
          <ac:chgData name="BARBARA MARQUEZ GARCIA" userId="4831918d-c4e7-4919-bf77-ea0b0d614b68" providerId="ADAL" clId="{19D1E83D-183C-40E4-8166-6A5E6DE465C1}" dt="2024-08-08T10:29:57.140" v="385" actId="1076"/>
          <ac:spMkLst>
            <pc:docMk/>
            <pc:sldMk cId="1688088763" sldId="2147482521"/>
            <ac:spMk id="46" creationId="{D2282ED6-9D30-0C22-9F72-EB9DBE7FB8FA}"/>
          </ac:spMkLst>
        </pc:spChg>
        <pc:spChg chg="mod">
          <ac:chgData name="BARBARA MARQUEZ GARCIA" userId="4831918d-c4e7-4919-bf77-ea0b0d614b68" providerId="ADAL" clId="{19D1E83D-183C-40E4-8166-6A5E6DE465C1}" dt="2024-08-08T10:30:26.794" v="388" actId="1076"/>
          <ac:spMkLst>
            <pc:docMk/>
            <pc:sldMk cId="1688088763" sldId="2147482521"/>
            <ac:spMk id="49" creationId="{7912C444-30EE-DB61-C726-BB1BA50884F7}"/>
          </ac:spMkLst>
        </pc:spChg>
        <pc:spChg chg="mod">
          <ac:chgData name="BARBARA MARQUEZ GARCIA" userId="4831918d-c4e7-4919-bf77-ea0b0d614b68" providerId="ADAL" clId="{19D1E83D-183C-40E4-8166-6A5E6DE465C1}" dt="2024-08-08T10:30:29.609" v="389" actId="1076"/>
          <ac:spMkLst>
            <pc:docMk/>
            <pc:sldMk cId="1688088763" sldId="2147482521"/>
            <ac:spMk id="50" creationId="{6485CD54-A6C2-411C-1080-E7419F34CB55}"/>
          </ac:spMkLst>
        </pc:spChg>
        <pc:spChg chg="mod">
          <ac:chgData name="BARBARA MARQUEZ GARCIA" userId="4831918d-c4e7-4919-bf77-ea0b0d614b68" providerId="ADAL" clId="{19D1E83D-183C-40E4-8166-6A5E6DE465C1}" dt="2024-08-08T09:37:04.492" v="54" actId="1035"/>
          <ac:spMkLst>
            <pc:docMk/>
            <pc:sldMk cId="1688088763" sldId="2147482521"/>
            <ac:spMk id="58" creationId="{1812F193-FFCD-0BE5-C748-9B7F6B873FBF}"/>
          </ac:spMkLst>
        </pc:spChg>
        <pc:spChg chg="mod">
          <ac:chgData name="BARBARA MARQUEZ GARCIA" userId="4831918d-c4e7-4919-bf77-ea0b0d614b68" providerId="ADAL" clId="{19D1E83D-183C-40E4-8166-6A5E6DE465C1}" dt="2024-08-08T09:42:01.085" v="209" actId="1076"/>
          <ac:spMkLst>
            <pc:docMk/>
            <pc:sldMk cId="1688088763" sldId="2147482521"/>
            <ac:spMk id="59" creationId="{392216ED-B8A1-EC3E-A883-25D174E9B6AB}"/>
          </ac:spMkLst>
        </pc:spChg>
        <pc:spChg chg="mod">
          <ac:chgData name="BARBARA MARQUEZ GARCIA" userId="4831918d-c4e7-4919-bf77-ea0b0d614b68" providerId="ADAL" clId="{19D1E83D-183C-40E4-8166-6A5E6DE465C1}" dt="2024-08-08T09:42:35.550" v="230" actId="1076"/>
          <ac:spMkLst>
            <pc:docMk/>
            <pc:sldMk cId="1688088763" sldId="2147482521"/>
            <ac:spMk id="64" creationId="{53C20FD9-A419-5D93-0724-512BE7CE1065}"/>
          </ac:spMkLst>
        </pc:spChg>
        <pc:spChg chg="mod">
          <ac:chgData name="BARBARA MARQUEZ GARCIA" userId="4831918d-c4e7-4919-bf77-ea0b0d614b68" providerId="ADAL" clId="{19D1E83D-183C-40E4-8166-6A5E6DE465C1}" dt="2024-08-08T09:42:57.500" v="261" actId="6549"/>
          <ac:spMkLst>
            <pc:docMk/>
            <pc:sldMk cId="1688088763" sldId="2147482521"/>
            <ac:spMk id="65" creationId="{2038FFEE-9B2F-B881-0AE8-1770618E7273}"/>
          </ac:spMkLst>
        </pc:spChg>
        <pc:spChg chg="mod">
          <ac:chgData name="BARBARA MARQUEZ GARCIA" userId="4831918d-c4e7-4919-bf77-ea0b0d614b68" providerId="ADAL" clId="{19D1E83D-183C-40E4-8166-6A5E6DE465C1}" dt="2024-08-08T10:33:20.961" v="405" actId="20577"/>
          <ac:spMkLst>
            <pc:docMk/>
            <pc:sldMk cId="1688088763" sldId="2147482521"/>
            <ac:spMk id="67" creationId="{7F5B0659-325C-0760-5652-65FB9F9F071B}"/>
          </ac:spMkLst>
        </pc:spChg>
        <pc:spChg chg="mod">
          <ac:chgData name="BARBARA MARQUEZ GARCIA" userId="4831918d-c4e7-4919-bf77-ea0b0d614b68" providerId="ADAL" clId="{19D1E83D-183C-40E4-8166-6A5E6DE465C1}" dt="2024-08-08T10:34:39.218" v="408" actId="1076"/>
          <ac:spMkLst>
            <pc:docMk/>
            <pc:sldMk cId="1688088763" sldId="2147482521"/>
            <ac:spMk id="68" creationId="{90153984-08E1-90CC-521B-2C6969B72912}"/>
          </ac:spMkLst>
        </pc:spChg>
        <pc:spChg chg="mod">
          <ac:chgData name="BARBARA MARQUEZ GARCIA" userId="4831918d-c4e7-4919-bf77-ea0b0d614b68" providerId="ADAL" clId="{19D1E83D-183C-40E4-8166-6A5E6DE465C1}" dt="2024-08-08T09:37:04.492" v="54" actId="1035"/>
          <ac:spMkLst>
            <pc:docMk/>
            <pc:sldMk cId="1688088763" sldId="2147482521"/>
            <ac:spMk id="70" creationId="{497A868D-792A-A5C7-20C3-3986EFC7D370}"/>
          </ac:spMkLst>
        </pc:spChg>
        <pc:spChg chg="mod">
          <ac:chgData name="BARBARA MARQUEZ GARCIA" userId="4831918d-c4e7-4919-bf77-ea0b0d614b68" providerId="ADAL" clId="{19D1E83D-183C-40E4-8166-6A5E6DE465C1}" dt="2024-08-08T10:30:10.223" v="387" actId="1076"/>
          <ac:spMkLst>
            <pc:docMk/>
            <pc:sldMk cId="1688088763" sldId="2147482521"/>
            <ac:spMk id="71" creationId="{402B427A-8640-7A2E-AC22-4905E479EFE3}"/>
          </ac:spMkLst>
        </pc:spChg>
        <pc:spChg chg="mod">
          <ac:chgData name="BARBARA MARQUEZ GARCIA" userId="4831918d-c4e7-4919-bf77-ea0b0d614b68" providerId="ADAL" clId="{19D1E83D-183C-40E4-8166-6A5E6DE465C1}" dt="2024-08-08T10:34:51.216" v="409" actId="114"/>
          <ac:spMkLst>
            <pc:docMk/>
            <pc:sldMk cId="1688088763" sldId="2147482521"/>
            <ac:spMk id="74" creationId="{3DD40724-299E-02EA-ACBA-9AD618D5FF9A}"/>
          </ac:spMkLst>
        </pc:spChg>
        <pc:spChg chg="mod">
          <ac:chgData name="BARBARA MARQUEZ GARCIA" userId="4831918d-c4e7-4919-bf77-ea0b0d614b68" providerId="ADAL" clId="{19D1E83D-183C-40E4-8166-6A5E6DE465C1}" dt="2024-08-08T10:32:56.790" v="404" actId="1076"/>
          <ac:spMkLst>
            <pc:docMk/>
            <pc:sldMk cId="1688088763" sldId="2147482521"/>
            <ac:spMk id="75" creationId="{9B6E783C-2937-2A41-72B0-C2808CE8F85C}"/>
          </ac:spMkLst>
        </pc:spChg>
        <pc:spChg chg="mod">
          <ac:chgData name="BARBARA MARQUEZ GARCIA" userId="4831918d-c4e7-4919-bf77-ea0b0d614b68" providerId="ADAL" clId="{19D1E83D-183C-40E4-8166-6A5E6DE465C1}" dt="2024-08-08T09:37:04.492" v="54" actId="1035"/>
          <ac:spMkLst>
            <pc:docMk/>
            <pc:sldMk cId="1688088763" sldId="2147482521"/>
            <ac:spMk id="77" creationId="{0C09F91E-7BFD-80D1-4E85-C01A0E89EDC8}"/>
          </ac:spMkLst>
        </pc:spChg>
        <pc:spChg chg="mod">
          <ac:chgData name="BARBARA MARQUEZ GARCIA" userId="4831918d-c4e7-4919-bf77-ea0b0d614b68" providerId="ADAL" clId="{19D1E83D-183C-40E4-8166-6A5E6DE465C1}" dt="2024-08-08T09:37:04.492" v="54" actId="1035"/>
          <ac:spMkLst>
            <pc:docMk/>
            <pc:sldMk cId="1688088763" sldId="2147482521"/>
            <ac:spMk id="79" creationId="{53F91F6E-00A8-27D7-C0ED-FA4DEAFB8F91}"/>
          </ac:spMkLst>
        </pc:spChg>
        <pc:spChg chg="mod">
          <ac:chgData name="BARBARA MARQUEZ GARCIA" userId="4831918d-c4e7-4919-bf77-ea0b0d614b68" providerId="ADAL" clId="{19D1E83D-183C-40E4-8166-6A5E6DE465C1}" dt="2024-08-08T09:37:04.492" v="54" actId="1035"/>
          <ac:spMkLst>
            <pc:docMk/>
            <pc:sldMk cId="1688088763" sldId="2147482521"/>
            <ac:spMk id="81" creationId="{3E01B21E-6365-2EF0-DDFA-9BCA086B479F}"/>
          </ac:spMkLst>
        </pc:spChg>
        <pc:spChg chg="mod">
          <ac:chgData name="BARBARA MARQUEZ GARCIA" userId="4831918d-c4e7-4919-bf77-ea0b0d614b68" providerId="ADAL" clId="{19D1E83D-183C-40E4-8166-6A5E6DE465C1}" dt="2024-08-08T09:37:04.492" v="54" actId="1035"/>
          <ac:spMkLst>
            <pc:docMk/>
            <pc:sldMk cId="1688088763" sldId="2147482521"/>
            <ac:spMk id="82" creationId="{50B02E5D-984A-ECA4-9B70-819865CECADA}"/>
          </ac:spMkLst>
        </pc:spChg>
        <pc:spChg chg="mod">
          <ac:chgData name="BARBARA MARQUEZ GARCIA" userId="4831918d-c4e7-4919-bf77-ea0b0d614b68" providerId="ADAL" clId="{19D1E83D-183C-40E4-8166-6A5E6DE465C1}" dt="2024-08-08T10:34:06.127" v="406" actId="1076"/>
          <ac:spMkLst>
            <pc:docMk/>
            <pc:sldMk cId="1688088763" sldId="2147482521"/>
            <ac:spMk id="85" creationId="{F0A268FA-6F96-7590-96B6-2990D85F2D4F}"/>
          </ac:spMkLst>
        </pc:spChg>
        <pc:spChg chg="mod">
          <ac:chgData name="BARBARA MARQUEZ GARCIA" userId="4831918d-c4e7-4919-bf77-ea0b0d614b68" providerId="ADAL" clId="{19D1E83D-183C-40E4-8166-6A5E6DE465C1}" dt="2024-08-08T10:31:10.900" v="392" actId="20577"/>
          <ac:spMkLst>
            <pc:docMk/>
            <pc:sldMk cId="1688088763" sldId="2147482521"/>
            <ac:spMk id="88" creationId="{B4DE2B72-39F0-76E5-4E97-2AD51B1887FB}"/>
          </ac:spMkLst>
        </pc:spChg>
        <pc:grpChg chg="mod">
          <ac:chgData name="BARBARA MARQUEZ GARCIA" userId="4831918d-c4e7-4919-bf77-ea0b0d614b68" providerId="ADAL" clId="{19D1E83D-183C-40E4-8166-6A5E6DE465C1}" dt="2024-08-08T09:37:15.456" v="56" actId="1076"/>
          <ac:grpSpMkLst>
            <pc:docMk/>
            <pc:sldMk cId="1688088763" sldId="2147482521"/>
            <ac:grpSpMk id="29" creationId="{D1D05348-32D9-9D7D-CFDC-C6A95C17620A}"/>
          </ac:grpSpMkLst>
        </pc:grpChg>
        <pc:grpChg chg="mod">
          <ac:chgData name="BARBARA MARQUEZ GARCIA" userId="4831918d-c4e7-4919-bf77-ea0b0d614b68" providerId="ADAL" clId="{19D1E83D-183C-40E4-8166-6A5E6DE465C1}" dt="2024-08-08T09:37:36.477" v="69" actId="14100"/>
          <ac:grpSpMkLst>
            <pc:docMk/>
            <pc:sldMk cId="1688088763" sldId="2147482521"/>
            <ac:grpSpMk id="32" creationId="{54DE0A80-C273-A684-76ED-BF1AFBCBE50F}"/>
          </ac:grpSpMkLst>
        </pc:grpChg>
        <pc:picChg chg="mod">
          <ac:chgData name="BARBARA MARQUEZ GARCIA" userId="4831918d-c4e7-4919-bf77-ea0b0d614b68" providerId="ADAL" clId="{19D1E83D-183C-40E4-8166-6A5E6DE465C1}" dt="2024-08-08T09:40:27.825" v="169" actId="1076"/>
          <ac:picMkLst>
            <pc:docMk/>
            <pc:sldMk cId="1688088763" sldId="2147482521"/>
            <ac:picMk id="31" creationId="{5DC128D5-B62F-CBB8-A202-6CC2B92436D1}"/>
          </ac:picMkLst>
        </pc:picChg>
        <pc:picChg chg="mod">
          <ac:chgData name="BARBARA MARQUEZ GARCIA" userId="4831918d-c4e7-4919-bf77-ea0b0d614b68" providerId="ADAL" clId="{19D1E83D-183C-40E4-8166-6A5E6DE465C1}" dt="2024-08-08T09:37:29.325" v="68" actId="1038"/>
          <ac:picMkLst>
            <pc:docMk/>
            <pc:sldMk cId="1688088763" sldId="2147482521"/>
            <ac:picMk id="34" creationId="{6BEB500A-3BBB-E293-110E-B0CA697DACB8}"/>
          </ac:picMkLst>
        </pc:picChg>
        <pc:picChg chg="mod">
          <ac:chgData name="BARBARA MARQUEZ GARCIA" userId="4831918d-c4e7-4919-bf77-ea0b0d614b68" providerId="ADAL" clId="{19D1E83D-183C-40E4-8166-6A5E6DE465C1}" dt="2024-08-08T09:37:13.539" v="55" actId="1076"/>
          <ac:picMkLst>
            <pc:docMk/>
            <pc:sldMk cId="1688088763" sldId="2147482521"/>
            <ac:picMk id="36" creationId="{0E64E755-5FFE-B654-D717-AB611657B0F1}"/>
          </ac:picMkLst>
        </pc:picChg>
        <pc:cxnChg chg="mod">
          <ac:chgData name="BARBARA MARQUEZ GARCIA" userId="4831918d-c4e7-4919-bf77-ea0b0d614b68" providerId="ADAL" clId="{19D1E83D-183C-40E4-8166-6A5E6DE465C1}" dt="2024-08-08T09:37:04.492" v="54" actId="1035"/>
          <ac:cxnSpMkLst>
            <pc:docMk/>
            <pc:sldMk cId="1688088763" sldId="2147482521"/>
            <ac:cxnSpMk id="38" creationId="{D2A5131A-0BD4-3E74-19A4-09FDFD8BE503}"/>
          </ac:cxnSpMkLst>
        </pc:cxnChg>
        <pc:cxnChg chg="mod">
          <ac:chgData name="BARBARA MARQUEZ GARCIA" userId="4831918d-c4e7-4919-bf77-ea0b0d614b68" providerId="ADAL" clId="{19D1E83D-183C-40E4-8166-6A5E6DE465C1}" dt="2024-08-08T09:37:04.492" v="54" actId="1035"/>
          <ac:cxnSpMkLst>
            <pc:docMk/>
            <pc:sldMk cId="1688088763" sldId="2147482521"/>
            <ac:cxnSpMk id="41" creationId="{EC8206B3-76D5-C821-6565-19501EC83DAF}"/>
          </ac:cxnSpMkLst>
        </pc:cxnChg>
        <pc:cxnChg chg="mod">
          <ac:chgData name="BARBARA MARQUEZ GARCIA" userId="4831918d-c4e7-4919-bf77-ea0b0d614b68" providerId="ADAL" clId="{19D1E83D-183C-40E4-8166-6A5E6DE465C1}" dt="2024-08-08T09:37:04.492" v="54" actId="1035"/>
          <ac:cxnSpMkLst>
            <pc:docMk/>
            <pc:sldMk cId="1688088763" sldId="2147482521"/>
            <ac:cxnSpMk id="42" creationId="{9FBB1A6E-6EE6-72F0-B19C-44CEBEE015B0}"/>
          </ac:cxnSpMkLst>
        </pc:cxnChg>
      </pc:sldChg>
    </pc:docChg>
  </pc:docChgLst>
  <pc:docChgLst>
    <pc:chgData name="JOSE MARIA PINILLA VELAZQUEZ" userId="01005d95-6857-40cd-9c1f-40fa144a788f" providerId="ADAL" clId="{91A06628-6A82-41C0-B4C0-3A40BF547F84}"/>
    <pc:docChg chg="modSld sldOrd">
      <pc:chgData name="JOSE MARIA PINILLA VELAZQUEZ" userId="01005d95-6857-40cd-9c1f-40fa144a788f" providerId="ADAL" clId="{91A06628-6A82-41C0-B4C0-3A40BF547F84}" dt="2024-09-16T16:53:58.259" v="1"/>
      <pc:docMkLst>
        <pc:docMk/>
      </pc:docMkLst>
      <pc:sldChg chg="ord">
        <pc:chgData name="JOSE MARIA PINILLA VELAZQUEZ" userId="01005d95-6857-40cd-9c1f-40fa144a788f" providerId="ADAL" clId="{91A06628-6A82-41C0-B4C0-3A40BF547F84}" dt="2024-09-16T16:53:58.259" v="1"/>
        <pc:sldMkLst>
          <pc:docMk/>
          <pc:sldMk cId="3939871833" sldId="262"/>
        </pc:sldMkLst>
      </pc:sldChg>
    </pc:docChg>
  </pc:docChgLst>
  <pc:docChgLst>
    <pc:chgData name="LUIS MIGUEL MUÑOZ SIMON" userId="f66bfb3b-8156-4e4d-9967-4d57382f1b09" providerId="ADAL" clId="{FC8DF9C6-6E36-4095-8F58-D77115E6ACC6}"/>
    <pc:docChg chg="undo custSel addSld delSld modSld">
      <pc:chgData name="LUIS MIGUEL MUÑOZ SIMON" userId="f66bfb3b-8156-4e4d-9967-4d57382f1b09" providerId="ADAL" clId="{FC8DF9C6-6E36-4095-8F58-D77115E6ACC6}" dt="2024-09-12T16:43:14.804" v="951" actId="47"/>
      <pc:docMkLst>
        <pc:docMk/>
      </pc:docMkLst>
      <pc:sldChg chg="modSp mod">
        <pc:chgData name="LUIS MIGUEL MUÑOZ SIMON" userId="f66bfb3b-8156-4e4d-9967-4d57382f1b09" providerId="ADAL" clId="{FC8DF9C6-6E36-4095-8F58-D77115E6ACC6}" dt="2024-09-12T16:01:33.326" v="201" actId="6549"/>
        <pc:sldMkLst>
          <pc:docMk/>
          <pc:sldMk cId="57633349" sldId="258"/>
        </pc:sldMkLst>
        <pc:spChg chg="mod">
          <ac:chgData name="LUIS MIGUEL MUÑOZ SIMON" userId="f66bfb3b-8156-4e4d-9967-4d57382f1b09" providerId="ADAL" clId="{FC8DF9C6-6E36-4095-8F58-D77115E6ACC6}" dt="2024-09-12T15:51:34.893" v="81" actId="6549"/>
          <ac:spMkLst>
            <pc:docMk/>
            <pc:sldMk cId="57633349" sldId="258"/>
            <ac:spMk id="6" creationId="{974320AD-B3DF-0E2C-830A-E3B0BF1FE63C}"/>
          </ac:spMkLst>
        </pc:spChg>
        <pc:spChg chg="mod">
          <ac:chgData name="LUIS MIGUEL MUÑOZ SIMON" userId="f66bfb3b-8156-4e4d-9967-4d57382f1b09" providerId="ADAL" clId="{FC8DF9C6-6E36-4095-8F58-D77115E6ACC6}" dt="2024-09-12T15:50:25.658" v="69" actId="20577"/>
          <ac:spMkLst>
            <pc:docMk/>
            <pc:sldMk cId="57633349" sldId="258"/>
            <ac:spMk id="43" creationId="{95EEA815-39D2-3F86-FC97-D60D263E34D9}"/>
          </ac:spMkLst>
        </pc:spChg>
        <pc:spChg chg="mod">
          <ac:chgData name="LUIS MIGUEL MUÑOZ SIMON" userId="f66bfb3b-8156-4e4d-9967-4d57382f1b09" providerId="ADAL" clId="{FC8DF9C6-6E36-4095-8F58-D77115E6ACC6}" dt="2024-09-12T15:52:42.292" v="104" actId="20577"/>
          <ac:spMkLst>
            <pc:docMk/>
            <pc:sldMk cId="57633349" sldId="258"/>
            <ac:spMk id="49" creationId="{7912C444-30EE-DB61-C726-BB1BA50884F7}"/>
          </ac:spMkLst>
        </pc:spChg>
        <pc:spChg chg="mod">
          <ac:chgData name="LUIS MIGUEL MUÑOZ SIMON" userId="f66bfb3b-8156-4e4d-9967-4d57382f1b09" providerId="ADAL" clId="{FC8DF9C6-6E36-4095-8F58-D77115E6ACC6}" dt="2024-09-12T15:52:55.652" v="105" actId="6549"/>
          <ac:spMkLst>
            <pc:docMk/>
            <pc:sldMk cId="57633349" sldId="258"/>
            <ac:spMk id="67" creationId="{7F5B0659-325C-0760-5652-65FB9F9F071B}"/>
          </ac:spMkLst>
        </pc:spChg>
        <pc:spChg chg="mod">
          <ac:chgData name="LUIS MIGUEL MUÑOZ SIMON" userId="f66bfb3b-8156-4e4d-9967-4d57382f1b09" providerId="ADAL" clId="{FC8DF9C6-6E36-4095-8F58-D77115E6ACC6}" dt="2024-09-12T15:53:38.702" v="110" actId="20577"/>
          <ac:spMkLst>
            <pc:docMk/>
            <pc:sldMk cId="57633349" sldId="258"/>
            <ac:spMk id="75" creationId="{9B6E783C-2937-2A41-72B0-C2808CE8F85C}"/>
          </ac:spMkLst>
        </pc:spChg>
        <pc:spChg chg="mod">
          <ac:chgData name="LUIS MIGUEL MUÑOZ SIMON" userId="f66bfb3b-8156-4e4d-9967-4d57382f1b09" providerId="ADAL" clId="{FC8DF9C6-6E36-4095-8F58-D77115E6ACC6}" dt="2024-09-12T15:59:57.319" v="157" actId="20577"/>
          <ac:spMkLst>
            <pc:docMk/>
            <pc:sldMk cId="57633349" sldId="258"/>
            <ac:spMk id="77" creationId="{0C09F91E-7BFD-80D1-4E85-C01A0E89EDC8}"/>
          </ac:spMkLst>
        </pc:spChg>
        <pc:spChg chg="mod">
          <ac:chgData name="LUIS MIGUEL MUÑOZ SIMON" userId="f66bfb3b-8156-4e4d-9967-4d57382f1b09" providerId="ADAL" clId="{FC8DF9C6-6E36-4095-8F58-D77115E6ACC6}" dt="2024-09-12T16:01:33.326" v="201" actId="6549"/>
          <ac:spMkLst>
            <pc:docMk/>
            <pc:sldMk cId="57633349" sldId="258"/>
            <ac:spMk id="85" creationId="{F0A268FA-6F96-7590-96B6-2990D85F2D4F}"/>
          </ac:spMkLst>
        </pc:spChg>
      </pc:sldChg>
      <pc:sldChg chg="modSp del mod">
        <pc:chgData name="LUIS MIGUEL MUÑOZ SIMON" userId="f66bfb3b-8156-4e4d-9967-4d57382f1b09" providerId="ADAL" clId="{FC8DF9C6-6E36-4095-8F58-D77115E6ACC6}" dt="2024-09-12T16:43:14.804" v="951" actId="47"/>
        <pc:sldMkLst>
          <pc:docMk/>
          <pc:sldMk cId="4073989990" sldId="259"/>
        </pc:sldMkLst>
        <pc:spChg chg="mod">
          <ac:chgData name="LUIS MIGUEL MUÑOZ SIMON" userId="f66bfb3b-8156-4e4d-9967-4d57382f1b09" providerId="ADAL" clId="{FC8DF9C6-6E36-4095-8F58-D77115E6ACC6}" dt="2024-09-12T16:02:05.143" v="203" actId="14100"/>
          <ac:spMkLst>
            <pc:docMk/>
            <pc:sldMk cId="4073989990" sldId="259"/>
            <ac:spMk id="13" creationId="{BF384E31-3B4A-0C4D-CA08-91B199A752DA}"/>
          </ac:spMkLst>
        </pc:spChg>
      </pc:sldChg>
      <pc:sldChg chg="modSp mod">
        <pc:chgData name="LUIS MIGUEL MUÑOZ SIMON" userId="f66bfb3b-8156-4e4d-9967-4d57382f1b09" providerId="ADAL" clId="{FC8DF9C6-6E36-4095-8F58-D77115E6ACC6}" dt="2024-09-12T15:43:34.282" v="39" actId="1036"/>
        <pc:sldMkLst>
          <pc:docMk/>
          <pc:sldMk cId="3405125810" sldId="260"/>
        </pc:sldMkLst>
        <pc:cxnChg chg="mod">
          <ac:chgData name="LUIS MIGUEL MUÑOZ SIMON" userId="f66bfb3b-8156-4e4d-9967-4d57382f1b09" providerId="ADAL" clId="{FC8DF9C6-6E36-4095-8F58-D77115E6ACC6}" dt="2024-09-12T15:43:34.282" v="39" actId="1036"/>
          <ac:cxnSpMkLst>
            <pc:docMk/>
            <pc:sldMk cId="3405125810" sldId="260"/>
            <ac:cxnSpMk id="28" creationId="{5EC1B880-3926-5AEB-6708-449A68317651}"/>
          </ac:cxnSpMkLst>
        </pc:cxnChg>
        <pc:cxnChg chg="mod">
          <ac:chgData name="LUIS MIGUEL MUÑOZ SIMON" userId="f66bfb3b-8156-4e4d-9967-4d57382f1b09" providerId="ADAL" clId="{FC8DF9C6-6E36-4095-8F58-D77115E6ACC6}" dt="2024-09-12T15:43:34.282" v="39" actId="1036"/>
          <ac:cxnSpMkLst>
            <pc:docMk/>
            <pc:sldMk cId="3405125810" sldId="260"/>
            <ac:cxnSpMk id="32" creationId="{465BA3D6-701F-A753-D1B4-67AC5044C2EF}"/>
          </ac:cxnSpMkLst>
        </pc:cxnChg>
      </pc:sldChg>
      <pc:sldChg chg="add">
        <pc:chgData name="LUIS MIGUEL MUÑOZ SIMON" userId="f66bfb3b-8156-4e4d-9967-4d57382f1b09" providerId="ADAL" clId="{FC8DF9C6-6E36-4095-8F58-D77115E6ACC6}" dt="2024-09-12T15:42:20.295" v="0"/>
        <pc:sldMkLst>
          <pc:docMk/>
          <pc:sldMk cId="1169181385" sldId="261"/>
        </pc:sldMkLst>
      </pc:sldChg>
      <pc:sldChg chg="addSp delSp modSp add mod">
        <pc:chgData name="LUIS MIGUEL MUÑOZ SIMON" userId="f66bfb3b-8156-4e4d-9967-4d57382f1b09" providerId="ADAL" clId="{FC8DF9C6-6E36-4095-8F58-D77115E6ACC6}" dt="2024-09-12T16:42:33.165" v="950" actId="14100"/>
        <pc:sldMkLst>
          <pc:docMk/>
          <pc:sldMk cId="3939871833" sldId="262"/>
        </pc:sldMkLst>
        <pc:spChg chg="mod">
          <ac:chgData name="LUIS MIGUEL MUÑOZ SIMON" userId="f66bfb3b-8156-4e4d-9967-4d57382f1b09" providerId="ADAL" clId="{FC8DF9C6-6E36-4095-8F58-D77115E6ACC6}" dt="2024-09-12T16:33:15.033" v="282" actId="1076"/>
          <ac:spMkLst>
            <pc:docMk/>
            <pc:sldMk cId="3939871833" sldId="262"/>
            <ac:spMk id="2" creationId="{6088CBEE-6148-4B18-82AC-4C04C17835FD}"/>
          </ac:spMkLst>
        </pc:spChg>
        <pc:spChg chg="mod">
          <ac:chgData name="LUIS MIGUEL MUÑOZ SIMON" userId="f66bfb3b-8156-4e4d-9967-4d57382f1b09" providerId="ADAL" clId="{FC8DF9C6-6E36-4095-8F58-D77115E6ACC6}" dt="2024-09-12T16:33:08.871" v="280" actId="1076"/>
          <ac:spMkLst>
            <pc:docMk/>
            <pc:sldMk cId="3939871833" sldId="262"/>
            <ac:spMk id="4" creationId="{F0CFB614-13CA-A0B7-6D77-7EBED4867EE9}"/>
          </ac:spMkLst>
        </pc:spChg>
        <pc:spChg chg="mod">
          <ac:chgData name="LUIS MIGUEL MUÑOZ SIMON" userId="f66bfb3b-8156-4e4d-9967-4d57382f1b09" providerId="ADAL" clId="{FC8DF9C6-6E36-4095-8F58-D77115E6ACC6}" dt="2024-09-12T16:42:33.165" v="950" actId="14100"/>
          <ac:spMkLst>
            <pc:docMk/>
            <pc:sldMk cId="3939871833" sldId="262"/>
            <ac:spMk id="5" creationId="{DAE1A1F0-2E00-8406-1518-7F220CB67A98}"/>
          </ac:spMkLst>
        </pc:spChg>
        <pc:spChg chg="mod">
          <ac:chgData name="LUIS MIGUEL MUÑOZ SIMON" userId="f66bfb3b-8156-4e4d-9967-4d57382f1b09" providerId="ADAL" clId="{FC8DF9C6-6E36-4095-8F58-D77115E6ACC6}" dt="2024-09-12T16:33:08.871" v="280" actId="1076"/>
          <ac:spMkLst>
            <pc:docMk/>
            <pc:sldMk cId="3939871833" sldId="262"/>
            <ac:spMk id="6" creationId="{DFD218AF-FA1C-A93A-46FA-4F299BD9AB01}"/>
          </ac:spMkLst>
        </pc:spChg>
        <pc:spChg chg="mod">
          <ac:chgData name="LUIS MIGUEL MUÑOZ SIMON" userId="f66bfb3b-8156-4e4d-9967-4d57382f1b09" providerId="ADAL" clId="{FC8DF9C6-6E36-4095-8F58-D77115E6ACC6}" dt="2024-09-12T16:33:08.871" v="280" actId="1076"/>
          <ac:spMkLst>
            <pc:docMk/>
            <pc:sldMk cId="3939871833" sldId="262"/>
            <ac:spMk id="7" creationId="{6B822810-6C39-0C48-9D88-9850DDB1527E}"/>
          </ac:spMkLst>
        </pc:spChg>
        <pc:spChg chg="mod">
          <ac:chgData name="LUIS MIGUEL MUÑOZ SIMON" userId="f66bfb3b-8156-4e4d-9967-4d57382f1b09" providerId="ADAL" clId="{FC8DF9C6-6E36-4095-8F58-D77115E6ACC6}" dt="2024-09-12T16:38:55.916" v="626" actId="1036"/>
          <ac:spMkLst>
            <pc:docMk/>
            <pc:sldMk cId="3939871833" sldId="262"/>
            <ac:spMk id="8" creationId="{3EAB1101-789F-0D6C-C275-3D61D4DDC221}"/>
          </ac:spMkLst>
        </pc:spChg>
        <pc:spChg chg="mod">
          <ac:chgData name="LUIS MIGUEL MUÑOZ SIMON" userId="f66bfb3b-8156-4e4d-9967-4d57382f1b09" providerId="ADAL" clId="{FC8DF9C6-6E36-4095-8F58-D77115E6ACC6}" dt="2024-09-12T16:41:05.709" v="724" actId="1036"/>
          <ac:spMkLst>
            <pc:docMk/>
            <pc:sldMk cId="3939871833" sldId="262"/>
            <ac:spMk id="9" creationId="{005668CA-A249-C429-B861-B2E50EF96F2F}"/>
          </ac:spMkLst>
        </pc:spChg>
        <pc:spChg chg="mod">
          <ac:chgData name="LUIS MIGUEL MUÑOZ SIMON" userId="f66bfb3b-8156-4e4d-9967-4d57382f1b09" providerId="ADAL" clId="{FC8DF9C6-6E36-4095-8F58-D77115E6ACC6}" dt="2024-09-12T16:34:55.566" v="492" actId="20577"/>
          <ac:spMkLst>
            <pc:docMk/>
            <pc:sldMk cId="3939871833" sldId="262"/>
            <ac:spMk id="10" creationId="{E5D13480-4C6A-1FF5-F1D5-EC3AB9308B95}"/>
          </ac:spMkLst>
        </pc:spChg>
        <pc:spChg chg="mod">
          <ac:chgData name="LUIS MIGUEL MUÑOZ SIMON" userId="f66bfb3b-8156-4e4d-9967-4d57382f1b09" providerId="ADAL" clId="{FC8DF9C6-6E36-4095-8F58-D77115E6ACC6}" dt="2024-09-12T16:33:08.871" v="280" actId="1076"/>
          <ac:spMkLst>
            <pc:docMk/>
            <pc:sldMk cId="3939871833" sldId="262"/>
            <ac:spMk id="11" creationId="{C418FF23-8231-498E-E5A9-7596A3F9E3E8}"/>
          </ac:spMkLst>
        </pc:spChg>
        <pc:spChg chg="mod">
          <ac:chgData name="LUIS MIGUEL MUÑOZ SIMON" userId="f66bfb3b-8156-4e4d-9967-4d57382f1b09" providerId="ADAL" clId="{FC8DF9C6-6E36-4095-8F58-D77115E6ACC6}" dt="2024-09-12T16:40:36.012" v="687" actId="6549"/>
          <ac:spMkLst>
            <pc:docMk/>
            <pc:sldMk cId="3939871833" sldId="262"/>
            <ac:spMk id="12" creationId="{B5734B4D-CA6D-1A46-CB6C-15C86CC8F045}"/>
          </ac:spMkLst>
        </pc:spChg>
        <pc:spChg chg="mod">
          <ac:chgData name="LUIS MIGUEL MUÑOZ SIMON" userId="f66bfb3b-8156-4e4d-9967-4d57382f1b09" providerId="ADAL" clId="{FC8DF9C6-6E36-4095-8F58-D77115E6ACC6}" dt="2024-09-12T16:41:05.709" v="724" actId="1036"/>
          <ac:spMkLst>
            <pc:docMk/>
            <pc:sldMk cId="3939871833" sldId="262"/>
            <ac:spMk id="13" creationId="{BF384E31-3B4A-0C4D-CA08-91B199A752DA}"/>
          </ac:spMkLst>
        </pc:spChg>
        <pc:spChg chg="del mod">
          <ac:chgData name="LUIS MIGUEL MUÑOZ SIMON" userId="f66bfb3b-8156-4e4d-9967-4d57382f1b09" providerId="ADAL" clId="{FC8DF9C6-6E36-4095-8F58-D77115E6ACC6}" dt="2024-09-12T16:27:20.318" v="277" actId="478"/>
          <ac:spMkLst>
            <pc:docMk/>
            <pc:sldMk cId="3939871833" sldId="262"/>
            <ac:spMk id="14" creationId="{9F7B95C0-6381-1D0D-D0ED-9B642811B73A}"/>
          </ac:spMkLst>
        </pc:spChg>
        <pc:spChg chg="mod">
          <ac:chgData name="LUIS MIGUEL MUÑOZ SIMON" userId="f66bfb3b-8156-4e4d-9967-4d57382f1b09" providerId="ADAL" clId="{FC8DF9C6-6E36-4095-8F58-D77115E6ACC6}" dt="2024-09-12T16:39:19.400" v="639" actId="20577"/>
          <ac:spMkLst>
            <pc:docMk/>
            <pc:sldMk cId="3939871833" sldId="262"/>
            <ac:spMk id="15" creationId="{2A22EC16-AA38-504B-51A8-9116331E1855}"/>
          </ac:spMkLst>
        </pc:spChg>
        <pc:spChg chg="mod">
          <ac:chgData name="LUIS MIGUEL MUÑOZ SIMON" userId="f66bfb3b-8156-4e4d-9967-4d57382f1b09" providerId="ADAL" clId="{FC8DF9C6-6E36-4095-8F58-D77115E6ACC6}" dt="2024-09-12T16:33:08.871" v="280" actId="1076"/>
          <ac:spMkLst>
            <pc:docMk/>
            <pc:sldMk cId="3939871833" sldId="262"/>
            <ac:spMk id="16" creationId="{154B8A1C-1B60-68EA-1CF5-28DE774ECB8A}"/>
          </ac:spMkLst>
        </pc:spChg>
        <pc:spChg chg="mod">
          <ac:chgData name="LUIS MIGUEL MUÑOZ SIMON" userId="f66bfb3b-8156-4e4d-9967-4d57382f1b09" providerId="ADAL" clId="{FC8DF9C6-6E36-4095-8F58-D77115E6ACC6}" dt="2024-09-12T16:33:08.871" v="280" actId="1076"/>
          <ac:spMkLst>
            <pc:docMk/>
            <pc:sldMk cId="3939871833" sldId="262"/>
            <ac:spMk id="19" creationId="{9EDCFA26-D495-54DE-8AC0-F11EED58FDC7}"/>
          </ac:spMkLst>
        </pc:spChg>
        <pc:spChg chg="add mod">
          <ac:chgData name="LUIS MIGUEL MUÑOZ SIMON" userId="f66bfb3b-8156-4e4d-9967-4d57382f1b09" providerId="ADAL" clId="{FC8DF9C6-6E36-4095-8F58-D77115E6ACC6}" dt="2024-09-12T16:33:30.952" v="284" actId="1076"/>
          <ac:spMkLst>
            <pc:docMk/>
            <pc:sldMk cId="3939871833" sldId="262"/>
            <ac:spMk id="20" creationId="{C945548C-03F3-3B04-0484-676363620C98}"/>
          </ac:spMkLst>
        </pc:spChg>
        <pc:spChg chg="add mod">
          <ac:chgData name="LUIS MIGUEL MUÑOZ SIMON" userId="f66bfb3b-8156-4e4d-9967-4d57382f1b09" providerId="ADAL" clId="{FC8DF9C6-6E36-4095-8F58-D77115E6ACC6}" dt="2024-09-12T16:33:55.933" v="387" actId="6549"/>
          <ac:spMkLst>
            <pc:docMk/>
            <pc:sldMk cId="3939871833" sldId="262"/>
            <ac:spMk id="21" creationId="{FBBB6DCA-972D-8762-8BBA-AA09DF0E8D56}"/>
          </ac:spMkLst>
        </pc:spChg>
        <pc:spChg chg="mod">
          <ac:chgData name="LUIS MIGUEL MUÑOZ SIMON" userId="f66bfb3b-8156-4e4d-9967-4d57382f1b09" providerId="ADAL" clId="{FC8DF9C6-6E36-4095-8F58-D77115E6ACC6}" dt="2024-09-12T16:39:12.154" v="631" actId="14100"/>
          <ac:spMkLst>
            <pc:docMk/>
            <pc:sldMk cId="3939871833" sldId="262"/>
            <ac:spMk id="22" creationId="{7AF955A8-B09A-83E1-18B7-5A2395D3E177}"/>
          </ac:spMkLst>
        </pc:spChg>
        <pc:spChg chg="add mod">
          <ac:chgData name="LUIS MIGUEL MUÑOZ SIMON" userId="f66bfb3b-8156-4e4d-9967-4d57382f1b09" providerId="ADAL" clId="{FC8DF9C6-6E36-4095-8F58-D77115E6ACC6}" dt="2024-09-12T16:42:27.946" v="949" actId="1076"/>
          <ac:spMkLst>
            <pc:docMk/>
            <pc:sldMk cId="3939871833" sldId="262"/>
            <ac:spMk id="23" creationId="{2E95D3DE-7A1F-870D-388F-4F155AFB4FA3}"/>
          </ac:spMkLst>
        </pc:spChg>
        <pc:spChg chg="del mod">
          <ac:chgData name="LUIS MIGUEL MUÑOZ SIMON" userId="f66bfb3b-8156-4e4d-9967-4d57382f1b09" providerId="ADAL" clId="{FC8DF9C6-6E36-4095-8F58-D77115E6ACC6}" dt="2024-09-12T16:27:24.030" v="278" actId="478"/>
          <ac:spMkLst>
            <pc:docMk/>
            <pc:sldMk cId="3939871833" sldId="262"/>
            <ac:spMk id="24" creationId="{4EA53342-8D4E-33AC-3E52-393F8B59564E}"/>
          </ac:spMkLst>
        </pc:spChg>
        <pc:graphicFrameChg chg="mod">
          <ac:chgData name="LUIS MIGUEL MUÑOZ SIMON" userId="f66bfb3b-8156-4e4d-9967-4d57382f1b09" providerId="ADAL" clId="{FC8DF9C6-6E36-4095-8F58-D77115E6ACC6}" dt="2024-09-12T16:33:08.871" v="280" actId="1076"/>
          <ac:graphicFrameMkLst>
            <pc:docMk/>
            <pc:sldMk cId="3939871833" sldId="262"/>
            <ac:graphicFrameMk id="3" creationId="{FE1D7A5A-B492-9901-90DF-017A1D8E0690}"/>
          </ac:graphicFrameMkLst>
        </pc:graphicFrameChg>
        <pc:cxnChg chg="mod">
          <ac:chgData name="LUIS MIGUEL MUÑOZ SIMON" userId="f66bfb3b-8156-4e4d-9967-4d57382f1b09" providerId="ADAL" clId="{FC8DF9C6-6E36-4095-8F58-D77115E6ACC6}" dt="2024-09-12T16:33:08.871" v="280" actId="1076"/>
          <ac:cxnSpMkLst>
            <pc:docMk/>
            <pc:sldMk cId="3939871833" sldId="262"/>
            <ac:cxnSpMk id="17" creationId="{948AB3A9-6BF2-5207-0988-105C218B50D2}"/>
          </ac:cxnSpMkLst>
        </pc:cxnChg>
        <pc:cxnChg chg="mod">
          <ac:chgData name="LUIS MIGUEL MUÑOZ SIMON" userId="f66bfb3b-8156-4e4d-9967-4d57382f1b09" providerId="ADAL" clId="{FC8DF9C6-6E36-4095-8F58-D77115E6ACC6}" dt="2024-09-12T16:41:05.709" v="724" actId="1036"/>
          <ac:cxnSpMkLst>
            <pc:docMk/>
            <pc:sldMk cId="3939871833" sldId="262"/>
            <ac:cxnSpMk id="18" creationId="{AE257C67-359E-8D36-B19A-8CC68916AABB}"/>
          </ac:cxnSpMkLst>
        </pc:cxnChg>
      </pc:sldChg>
      <pc:sldChg chg="delSp mod">
        <pc:chgData name="LUIS MIGUEL MUÑOZ SIMON" userId="f66bfb3b-8156-4e4d-9967-4d57382f1b09" providerId="ADAL" clId="{FC8DF9C6-6E36-4095-8F58-D77115E6ACC6}" dt="2024-09-12T15:42:41.779" v="2" actId="478"/>
        <pc:sldMkLst>
          <pc:docMk/>
          <pc:sldMk cId="364373145" sldId="2147482420"/>
        </pc:sldMkLst>
        <pc:picChg chg="del">
          <ac:chgData name="LUIS MIGUEL MUÑOZ SIMON" userId="f66bfb3b-8156-4e4d-9967-4d57382f1b09" providerId="ADAL" clId="{FC8DF9C6-6E36-4095-8F58-D77115E6ACC6}" dt="2024-09-12T15:42:41.779" v="2" actId="478"/>
          <ac:picMkLst>
            <pc:docMk/>
            <pc:sldMk cId="364373145" sldId="2147482420"/>
            <ac:picMk id="3" creationId="{14AF4F95-025B-6335-DE59-3EE34B18271D}"/>
          </ac:picMkLst>
        </pc:picChg>
      </pc:sldChg>
      <pc:sldChg chg="modSp mod">
        <pc:chgData name="LUIS MIGUEL MUÑOZ SIMON" userId="f66bfb3b-8156-4e4d-9967-4d57382f1b09" providerId="ADAL" clId="{FC8DF9C6-6E36-4095-8F58-D77115E6ACC6}" dt="2024-09-12T15:48:46.146" v="43" actId="20577"/>
        <pc:sldMkLst>
          <pc:docMk/>
          <pc:sldMk cId="1609908923" sldId="2147482457"/>
        </pc:sldMkLst>
        <pc:spChg chg="mod">
          <ac:chgData name="LUIS MIGUEL MUÑOZ SIMON" userId="f66bfb3b-8156-4e4d-9967-4d57382f1b09" providerId="ADAL" clId="{FC8DF9C6-6E36-4095-8F58-D77115E6ACC6}" dt="2024-09-12T15:48:46.146" v="43" actId="20577"/>
          <ac:spMkLst>
            <pc:docMk/>
            <pc:sldMk cId="1609908923" sldId="2147482457"/>
            <ac:spMk id="10" creationId="{D80FB133-3210-7E8B-C930-8CC5637377D2}"/>
          </ac:spMkLst>
        </pc:spChg>
      </pc:sldChg>
      <pc:sldChg chg="del">
        <pc:chgData name="LUIS MIGUEL MUÑOZ SIMON" userId="f66bfb3b-8156-4e4d-9967-4d57382f1b09" providerId="ADAL" clId="{FC8DF9C6-6E36-4095-8F58-D77115E6ACC6}" dt="2024-09-12T15:42:26.242" v="1" actId="47"/>
        <pc:sldMkLst>
          <pc:docMk/>
          <pc:sldMk cId="3000029249" sldId="2147482517"/>
        </pc:sldMkLst>
      </pc:sldChg>
      <pc:sldChg chg="modSp mod">
        <pc:chgData name="LUIS MIGUEL MUÑOZ SIMON" userId="f66bfb3b-8156-4e4d-9967-4d57382f1b09" providerId="ADAL" clId="{FC8DF9C6-6E36-4095-8F58-D77115E6ACC6}" dt="2024-09-12T15:48:36.472" v="41" actId="20577"/>
        <pc:sldMkLst>
          <pc:docMk/>
          <pc:sldMk cId="4048473283" sldId="2147483647"/>
        </pc:sldMkLst>
        <pc:spChg chg="mod">
          <ac:chgData name="LUIS MIGUEL MUÑOZ SIMON" userId="f66bfb3b-8156-4e4d-9967-4d57382f1b09" providerId="ADAL" clId="{FC8DF9C6-6E36-4095-8F58-D77115E6ACC6}" dt="2024-09-12T15:48:36.472" v="41" actId="20577"/>
          <ac:spMkLst>
            <pc:docMk/>
            <pc:sldMk cId="4048473283" sldId="2147483647"/>
            <ac:spMk id="8" creationId="{445300AF-B52C-B84A-970D-0B34D552400B}"/>
          </ac:spMkLst>
        </pc:spChg>
      </pc:sldChg>
    </pc:docChg>
  </pc:docChgLst>
  <pc:docChgLst>
    <pc:chgData name="JOSE MARIA PINILLA VELAZQUEZ" userId="01005d95-6857-40cd-9c1f-40fa144a788f" providerId="ADAL" clId="{C22AD160-2A05-47EB-B822-CDA0A865B18C}"/>
    <pc:docChg chg="addSld delSld modSld">
      <pc:chgData name="JOSE MARIA PINILLA VELAZQUEZ" userId="01005d95-6857-40cd-9c1f-40fa144a788f" providerId="ADAL" clId="{C22AD160-2A05-47EB-B822-CDA0A865B18C}" dt="2024-09-12T15:40:33.200" v="2" actId="47"/>
      <pc:docMkLst>
        <pc:docMk/>
      </pc:docMkLst>
      <pc:sldChg chg="add">
        <pc:chgData name="JOSE MARIA PINILLA VELAZQUEZ" userId="01005d95-6857-40cd-9c1f-40fa144a788f" providerId="ADAL" clId="{C22AD160-2A05-47EB-B822-CDA0A865B18C}" dt="2024-09-12T15:28:38.028" v="1"/>
        <pc:sldMkLst>
          <pc:docMk/>
          <pc:sldMk cId="281423612" sldId="257"/>
        </pc:sldMkLst>
      </pc:sldChg>
      <pc:sldChg chg="del">
        <pc:chgData name="JOSE MARIA PINILLA VELAZQUEZ" userId="01005d95-6857-40cd-9c1f-40fa144a788f" providerId="ADAL" clId="{C22AD160-2A05-47EB-B822-CDA0A865B18C}" dt="2024-09-12T15:28:30.165" v="0" actId="2696"/>
        <pc:sldMkLst>
          <pc:docMk/>
          <pc:sldMk cId="3763999318" sldId="257"/>
        </pc:sldMkLst>
      </pc:sldChg>
      <pc:sldChg chg="del">
        <pc:chgData name="JOSE MARIA PINILLA VELAZQUEZ" userId="01005d95-6857-40cd-9c1f-40fa144a788f" providerId="ADAL" clId="{C22AD160-2A05-47EB-B822-CDA0A865B18C}" dt="2024-09-12T15:40:33.200" v="2" actId="47"/>
        <pc:sldMkLst>
          <pc:docMk/>
          <pc:sldMk cId="2814546384" sldId="261"/>
        </pc:sldMkLst>
      </pc:sldChg>
    </pc:docChg>
  </pc:docChgLst>
  <pc:docChgLst>
    <pc:chgData name="JOSE MARIA PINILLA VELAZQUEZ" userId="01005d95-6857-40cd-9c1f-40fa144a788f" providerId="ADAL" clId="{9EE75B66-0B5B-45A8-8D67-FFBA4E97C3F8}"/>
    <pc:docChg chg="delSld">
      <pc:chgData name="JOSE MARIA PINILLA VELAZQUEZ" userId="01005d95-6857-40cd-9c1f-40fa144a788f" providerId="ADAL" clId="{9EE75B66-0B5B-45A8-8D67-FFBA4E97C3F8}" dt="2024-09-16T16:38:59.966" v="0" actId="47"/>
      <pc:docMkLst>
        <pc:docMk/>
      </pc:docMkLst>
      <pc:sldChg chg="del">
        <pc:chgData name="JOSE MARIA PINILLA VELAZQUEZ" userId="01005d95-6857-40cd-9c1f-40fa144a788f" providerId="ADAL" clId="{9EE75B66-0B5B-45A8-8D67-FFBA4E97C3F8}" dt="2024-09-16T16:38:59.966" v="0" actId="47"/>
        <pc:sldMkLst>
          <pc:docMk/>
          <pc:sldMk cId="3494859784" sldId="257"/>
        </pc:sldMkLst>
      </pc:sldChg>
    </pc:docChg>
  </pc:docChgLst>
  <pc:docChgLst>
    <pc:chgData name="JOSE MARIA PINILLA VELAZQUEZ" userId="01005d95-6857-40cd-9c1f-40fa144a788f" providerId="ADAL" clId="{84BEF8AB-016C-4CB0-B594-E457C22707DE}"/>
    <pc:docChg chg="modSld">
      <pc:chgData name="JOSE MARIA PINILLA VELAZQUEZ" userId="01005d95-6857-40cd-9c1f-40fa144a788f" providerId="ADAL" clId="{84BEF8AB-016C-4CB0-B594-E457C22707DE}" dt="2024-09-13T07:38:18.367" v="3" actId="6549"/>
      <pc:docMkLst>
        <pc:docMk/>
      </pc:docMkLst>
      <pc:sldChg chg="modSp mod">
        <pc:chgData name="JOSE MARIA PINILLA VELAZQUEZ" userId="01005d95-6857-40cd-9c1f-40fa144a788f" providerId="ADAL" clId="{84BEF8AB-016C-4CB0-B594-E457C22707DE}" dt="2024-09-13T07:38:18.367" v="3" actId="6549"/>
        <pc:sldMkLst>
          <pc:docMk/>
          <pc:sldMk cId="3385647782" sldId="2147482503"/>
        </pc:sldMkLst>
        <pc:spChg chg="mod">
          <ac:chgData name="JOSE MARIA PINILLA VELAZQUEZ" userId="01005d95-6857-40cd-9c1f-40fa144a788f" providerId="ADAL" clId="{84BEF8AB-016C-4CB0-B594-E457C22707DE}" dt="2024-09-13T07:38:18.367" v="3" actId="6549"/>
          <ac:spMkLst>
            <pc:docMk/>
            <pc:sldMk cId="3385647782" sldId="2147482503"/>
            <ac:spMk id="11" creationId="{179E7725-3B96-43E4-0023-358C0975FD8E}"/>
          </ac:spMkLst>
        </pc:spChg>
      </pc:sldChg>
    </pc:docChg>
  </pc:docChgLst>
  <pc:docChgLst>
    <pc:chgData name="JOSE MARIA PINILLA VELAZQUEZ" userId="01005d95-6857-40cd-9c1f-40fa144a788f" providerId="ADAL" clId="{E80B144C-1420-4974-AD58-DA1C492E4289}"/>
    <pc:docChg chg="undo custSel addSld modSld">
      <pc:chgData name="JOSE MARIA PINILLA VELAZQUEZ" userId="01005d95-6857-40cd-9c1f-40fa144a788f" providerId="ADAL" clId="{E80B144C-1420-4974-AD58-DA1C492E4289}" dt="2024-09-11T06:05:26.819" v="167" actId="1076"/>
      <pc:docMkLst>
        <pc:docMk/>
      </pc:docMkLst>
      <pc:sldChg chg="addSp delSp modSp add mod">
        <pc:chgData name="JOSE MARIA PINILLA VELAZQUEZ" userId="01005d95-6857-40cd-9c1f-40fa144a788f" providerId="ADAL" clId="{E80B144C-1420-4974-AD58-DA1C492E4289}" dt="2024-09-11T06:05:26.819" v="167" actId="1076"/>
        <pc:sldMkLst>
          <pc:docMk/>
          <pc:sldMk cId="3763999318" sldId="257"/>
        </pc:sldMkLst>
        <pc:spChg chg="mod">
          <ac:chgData name="JOSE MARIA PINILLA VELAZQUEZ" userId="01005d95-6857-40cd-9c1f-40fa144a788f" providerId="ADAL" clId="{E80B144C-1420-4974-AD58-DA1C492E4289}" dt="2024-09-11T05:51:47.706" v="26" actId="1036"/>
          <ac:spMkLst>
            <pc:docMk/>
            <pc:sldMk cId="3763999318" sldId="257"/>
            <ac:spMk id="4" creationId="{8F1560D4-B669-0A39-AEE8-C1C715FC9B20}"/>
          </ac:spMkLst>
        </pc:spChg>
        <pc:spChg chg="mod">
          <ac:chgData name="JOSE MARIA PINILLA VELAZQUEZ" userId="01005d95-6857-40cd-9c1f-40fa144a788f" providerId="ADAL" clId="{E80B144C-1420-4974-AD58-DA1C492E4289}" dt="2024-09-11T05:51:47.706" v="26" actId="1036"/>
          <ac:spMkLst>
            <pc:docMk/>
            <pc:sldMk cId="3763999318" sldId="257"/>
            <ac:spMk id="6" creationId="{0840D03F-F807-5825-8C68-7C05C18AF2EB}"/>
          </ac:spMkLst>
        </pc:spChg>
        <pc:spChg chg="add del mod">
          <ac:chgData name="JOSE MARIA PINILLA VELAZQUEZ" userId="01005d95-6857-40cd-9c1f-40fa144a788f" providerId="ADAL" clId="{E80B144C-1420-4974-AD58-DA1C492E4289}" dt="2024-09-11T05:51:43.077" v="15"/>
          <ac:spMkLst>
            <pc:docMk/>
            <pc:sldMk cId="3763999318" sldId="257"/>
            <ac:spMk id="9" creationId="{29F560D4-5815-BD17-812D-7C18A17CC3D5}"/>
          </ac:spMkLst>
        </pc:spChg>
        <pc:spChg chg="add mod">
          <ac:chgData name="JOSE MARIA PINILLA VELAZQUEZ" userId="01005d95-6857-40cd-9c1f-40fa144a788f" providerId="ADAL" clId="{E80B144C-1420-4974-AD58-DA1C492E4289}" dt="2024-09-11T05:51:51.259" v="27"/>
          <ac:spMkLst>
            <pc:docMk/>
            <pc:sldMk cId="3763999318" sldId="257"/>
            <ac:spMk id="10" creationId="{9F3708A0-D010-28A5-371F-6874F78D4C44}"/>
          </ac:spMkLst>
        </pc:spChg>
        <pc:spChg chg="add mod">
          <ac:chgData name="JOSE MARIA PINILLA VELAZQUEZ" userId="01005d95-6857-40cd-9c1f-40fa144a788f" providerId="ADAL" clId="{E80B144C-1420-4974-AD58-DA1C492E4289}" dt="2024-09-11T05:56:49.215" v="118" actId="1076"/>
          <ac:spMkLst>
            <pc:docMk/>
            <pc:sldMk cId="3763999318" sldId="257"/>
            <ac:spMk id="11" creationId="{EB503AC3-4745-1C9B-DF1E-3FB103438262}"/>
          </ac:spMkLst>
        </pc:spChg>
        <pc:spChg chg="add mod">
          <ac:chgData name="JOSE MARIA PINILLA VELAZQUEZ" userId="01005d95-6857-40cd-9c1f-40fa144a788f" providerId="ADAL" clId="{E80B144C-1420-4974-AD58-DA1C492E4289}" dt="2024-09-11T06:04:41.803" v="166" actId="1076"/>
          <ac:spMkLst>
            <pc:docMk/>
            <pc:sldMk cId="3763999318" sldId="257"/>
            <ac:spMk id="12" creationId="{44CBB4D8-77B4-344F-CD09-DD95C48C8D79}"/>
          </ac:spMkLst>
        </pc:spChg>
        <pc:spChg chg="add mod">
          <ac:chgData name="JOSE MARIA PINILLA VELAZQUEZ" userId="01005d95-6857-40cd-9c1f-40fa144a788f" providerId="ADAL" clId="{E80B144C-1420-4974-AD58-DA1C492E4289}" dt="2024-09-11T05:58:57.109" v="144" actId="692"/>
          <ac:spMkLst>
            <pc:docMk/>
            <pc:sldMk cId="3763999318" sldId="257"/>
            <ac:spMk id="13" creationId="{3516BA32-AD30-F170-B9E0-F0DEA62BD1E3}"/>
          </ac:spMkLst>
        </pc:spChg>
        <pc:picChg chg="del">
          <ac:chgData name="JOSE MARIA PINILLA VELAZQUEZ" userId="01005d95-6857-40cd-9c1f-40fa144a788f" providerId="ADAL" clId="{E80B144C-1420-4974-AD58-DA1C492E4289}" dt="2024-09-11T05:49:55.222" v="1" actId="478"/>
          <ac:picMkLst>
            <pc:docMk/>
            <pc:sldMk cId="3763999318" sldId="257"/>
            <ac:picMk id="3" creationId="{E727090A-CF17-0E24-EAF0-5672B4B5A5EE}"/>
          </ac:picMkLst>
        </pc:picChg>
        <pc:picChg chg="add del mod">
          <ac:chgData name="JOSE MARIA PINILLA VELAZQUEZ" userId="01005d95-6857-40cd-9c1f-40fa144a788f" providerId="ADAL" clId="{E80B144C-1420-4974-AD58-DA1C492E4289}" dt="2024-09-11T05:50:22.037" v="7"/>
          <ac:picMkLst>
            <pc:docMk/>
            <pc:sldMk cId="3763999318" sldId="257"/>
            <ac:picMk id="7" creationId="{6E1DE8F2-4EC2-EF2C-FE33-33EEF52DC8A4}"/>
          </ac:picMkLst>
        </pc:picChg>
        <pc:picChg chg="add mod">
          <ac:chgData name="JOSE MARIA PINILLA VELAZQUEZ" userId="01005d95-6857-40cd-9c1f-40fa144a788f" providerId="ADAL" clId="{E80B144C-1420-4974-AD58-DA1C492E4289}" dt="2024-09-11T06:05:26.819" v="167" actId="1076"/>
          <ac:picMkLst>
            <pc:docMk/>
            <pc:sldMk cId="3763999318" sldId="257"/>
            <ac:picMk id="8" creationId="{C0F38E76-908C-CB37-1D65-4E04619AFCD0}"/>
          </ac:picMkLst>
        </pc:picChg>
      </pc:sldChg>
      <pc:sldChg chg="modSp mod">
        <pc:chgData name="JOSE MARIA PINILLA VELAZQUEZ" userId="01005d95-6857-40cd-9c1f-40fa144a788f" providerId="ADAL" clId="{E80B144C-1420-4974-AD58-DA1C492E4289}" dt="2024-09-11T05:52:40.223" v="32" actId="1076"/>
        <pc:sldMkLst>
          <pc:docMk/>
          <pc:sldMk cId="358552129" sldId="2147482479"/>
        </pc:sldMkLst>
        <pc:spChg chg="mod">
          <ac:chgData name="JOSE MARIA PINILLA VELAZQUEZ" userId="01005d95-6857-40cd-9c1f-40fa144a788f" providerId="ADAL" clId="{E80B144C-1420-4974-AD58-DA1C492E4289}" dt="2024-09-11T05:52:40.223" v="32" actId="1076"/>
          <ac:spMkLst>
            <pc:docMk/>
            <pc:sldMk cId="358552129" sldId="2147482479"/>
            <ac:spMk id="6" creationId="{C2C6EF88-A268-AC5B-D081-C053D06A2488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BED3D5-B400-4031-8402-60312AD0D772}" type="datetimeFigureOut">
              <a:rPr lang="es-ES" smtClean="0"/>
              <a:t>17/09/2024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8F05C2-51C1-4F8D-956F-9A0A9E7230F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571979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8F05C2-51C1-4F8D-956F-9A0A9E7230F1}" type="slidenum">
              <a:rPr lang="es-ES" smtClean="0"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979395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AEBABF-E2E4-4593-AD1F-9B9BAF6460FB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05562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AEBABF-E2E4-4593-AD1F-9B9BAF6460FB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44171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AEBABF-E2E4-4593-AD1F-9B9BAF6460FB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22956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AB6807-3AA0-42B3-B33F-8515831A64B8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07201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AB6807-3AA0-42B3-B33F-8515831A64B8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7078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AEBABF-E2E4-4593-AD1F-9B9BAF6460FB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77839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AEBABF-E2E4-4593-AD1F-9B9BAF6460FB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3908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AEBABF-E2E4-4593-AD1F-9B9BAF6460FB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68058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AEBABF-E2E4-4593-AD1F-9B9BAF6460FB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578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AEBABF-E2E4-4593-AD1F-9B9BAF6460FB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4810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sv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7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6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.xml"/><Relationship Id="rId4" Type="http://schemas.openxmlformats.org/officeDocument/2006/relationships/image" Target="../media/image21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sv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9.svg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3.png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9.svg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9.svg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507807" y="3505898"/>
            <a:ext cx="17088486" cy="23749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900" b="0" i="1">
                <a:solidFill>
                  <a:srgbClr val="0066FF"/>
                </a:solidFill>
                <a:latin typeface="Palatino Linotype"/>
                <a:cs typeface="Palatino Linotyp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3015615" y="6333236"/>
            <a:ext cx="14072870" cy="28273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7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ondo_Imagen_Titular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130" y="4245735"/>
            <a:ext cx="15653167" cy="2185952"/>
          </a:xfrm>
          <a:noFill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0252" y="6922505"/>
            <a:ext cx="15623046" cy="179326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03D061EE-99C1-1F4C-AEA3-647F443580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48831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065815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54F365-6453-428F-BCEF-2E9FA2875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2347" y="74096"/>
            <a:ext cx="16761437" cy="13418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s-ES" sz="329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Haga clic para modificar el estilo de título del patrón</a:t>
            </a: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E2822421-DE89-4518-9420-7EBB166487E2}"/>
              </a:ext>
            </a:extLst>
          </p:cNvPr>
          <p:cNvGrpSpPr/>
          <p:nvPr userDrawn="1"/>
        </p:nvGrpSpPr>
        <p:grpSpPr>
          <a:xfrm>
            <a:off x="328426" y="451140"/>
            <a:ext cx="1910935" cy="587730"/>
            <a:chOff x="-1276898" y="1766240"/>
            <a:chExt cx="1053522" cy="324000"/>
          </a:xfrm>
          <a:solidFill>
            <a:schemeClr val="tx2"/>
          </a:solidFill>
        </p:grpSpPr>
        <p:sp>
          <p:nvSpPr>
            <p:cNvPr id="11" name="Elipse 10">
              <a:extLst>
                <a:ext uri="{FF2B5EF4-FFF2-40B4-BE49-F238E27FC236}">
                  <a16:creationId xmlns:a16="http://schemas.microsoft.com/office/drawing/2014/main" id="{642ECA7C-8EF0-4685-8E0D-5A2A90C4BC63}"/>
                </a:ext>
              </a:extLst>
            </p:cNvPr>
            <p:cNvSpPr/>
            <p:nvPr/>
          </p:nvSpPr>
          <p:spPr>
            <a:xfrm>
              <a:off x="-1276898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801" err="1">
                <a:solidFill>
                  <a:schemeClr val="tx1"/>
                </a:solidFill>
              </a:endParaRPr>
            </a:p>
          </p:txBody>
        </p:sp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9BAED245-D164-4980-ADD3-599ED072DD0E}"/>
                </a:ext>
              </a:extLst>
            </p:cNvPr>
            <p:cNvSpPr/>
            <p:nvPr/>
          </p:nvSpPr>
          <p:spPr>
            <a:xfrm>
              <a:off x="-912137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801" err="1">
                <a:solidFill>
                  <a:schemeClr val="tx1"/>
                </a:solidFill>
              </a:endParaRPr>
            </a:p>
          </p:txBody>
        </p:sp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5F1C9E51-8BBB-4713-9D8D-14E1E317CF4E}"/>
                </a:ext>
              </a:extLst>
            </p:cNvPr>
            <p:cNvSpPr/>
            <p:nvPr/>
          </p:nvSpPr>
          <p:spPr>
            <a:xfrm>
              <a:off x="-547376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801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63995385-35C1-4622-8E5F-8B72B12DD1BC}"/>
              </a:ext>
            </a:extLst>
          </p:cNvPr>
          <p:cNvCxnSpPr>
            <a:cxnSpLocks/>
          </p:cNvCxnSpPr>
          <p:nvPr userDrawn="1"/>
        </p:nvCxnSpPr>
        <p:spPr>
          <a:xfrm rot="10800000">
            <a:off x="2566053" y="188308"/>
            <a:ext cx="0" cy="111339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246045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ndo_Azul_Logo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00DCAC73-46A0-4F44-878E-B326B1156B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72002" y="3874501"/>
            <a:ext cx="3560099" cy="3560351"/>
          </a:xfrm>
        </p:spPr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99678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terior 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Logotipo&#10;&#10;Descripción generada automáticamente">
            <a:extLst>
              <a:ext uri="{FF2B5EF4-FFF2-40B4-BE49-F238E27FC236}">
                <a16:creationId xmlns:a16="http://schemas.microsoft.com/office/drawing/2014/main" id="{E545CB05-A326-4C2B-92BB-C039DBD2D19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07869" y="10731835"/>
            <a:ext cx="1904019" cy="256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761687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ndo_Blanco_Titular_Azu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13" y="4245735"/>
            <a:ext cx="15653167" cy="2185952"/>
          </a:xfrm>
          <a:noFill/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4035" y="6922505"/>
            <a:ext cx="15623046" cy="1793264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24A37FC6-CFAA-AA40-9AEC-EDB5AC61EE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9505" y="686334"/>
            <a:ext cx="3289992" cy="936877"/>
          </a:xfrm>
          <a:prstGeom prst="rect">
            <a:avLst/>
          </a:prstGeom>
        </p:spPr>
      </p:pic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F954BD66-1368-BA4D-A88F-DFD8931680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48831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30319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ndo_Azul_Titular_Blanc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13" y="4245735"/>
            <a:ext cx="15653167" cy="2185952"/>
          </a:xfrm>
          <a:noFill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2801" y="6922505"/>
            <a:ext cx="15623046" cy="179326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10324EC9-24C7-174D-B246-CAB9B044A8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9505" y="686334"/>
            <a:ext cx="3289992" cy="936877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75565342-32F0-F042-AECF-681BA10181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48831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985095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ondo_Imagen_Titular_Blanco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489" y="4245735"/>
            <a:ext cx="15653167" cy="2185952"/>
          </a:xfrm>
          <a:noFill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2611" y="6922505"/>
            <a:ext cx="15623046" cy="179326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10324EC9-24C7-174D-B246-CAB9B044A8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08081" y="686334"/>
            <a:ext cx="3289992" cy="936877"/>
          </a:xfrm>
          <a:prstGeom prst="rect">
            <a:avLst/>
          </a:prstGeom>
        </p:spPr>
      </p:pic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C8316937-F3C3-2748-8C71-018AB83C46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48831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4118197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ondo_Imagen_Titular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130" y="4245735"/>
            <a:ext cx="15653167" cy="2185952"/>
          </a:xfrm>
          <a:noFill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0252" y="6922505"/>
            <a:ext cx="15623046" cy="179326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03D061EE-99C1-1F4C-AEA3-647F443580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48831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925334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54F365-6453-428F-BCEF-2E9FA2875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2347" y="74096"/>
            <a:ext cx="16761437" cy="13418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s-ES" sz="329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Haga clic para modificar el estilo de título del patrón</a:t>
            </a: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E2822421-DE89-4518-9420-7EBB166487E2}"/>
              </a:ext>
            </a:extLst>
          </p:cNvPr>
          <p:cNvGrpSpPr/>
          <p:nvPr userDrawn="1"/>
        </p:nvGrpSpPr>
        <p:grpSpPr>
          <a:xfrm>
            <a:off x="328425" y="451140"/>
            <a:ext cx="1910935" cy="587730"/>
            <a:chOff x="-1276898" y="1766240"/>
            <a:chExt cx="1053522" cy="324000"/>
          </a:xfrm>
          <a:solidFill>
            <a:schemeClr val="tx2"/>
          </a:solidFill>
        </p:grpSpPr>
        <p:sp>
          <p:nvSpPr>
            <p:cNvPr id="11" name="Elipse 10">
              <a:extLst>
                <a:ext uri="{FF2B5EF4-FFF2-40B4-BE49-F238E27FC236}">
                  <a16:creationId xmlns:a16="http://schemas.microsoft.com/office/drawing/2014/main" id="{642ECA7C-8EF0-4685-8E0D-5A2A90C4BC63}"/>
                </a:ext>
              </a:extLst>
            </p:cNvPr>
            <p:cNvSpPr/>
            <p:nvPr/>
          </p:nvSpPr>
          <p:spPr>
            <a:xfrm>
              <a:off x="-1276898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9BAED245-D164-4980-ADD3-599ED072DD0E}"/>
                </a:ext>
              </a:extLst>
            </p:cNvPr>
            <p:cNvSpPr/>
            <p:nvPr/>
          </p:nvSpPr>
          <p:spPr>
            <a:xfrm>
              <a:off x="-912137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5F1C9E51-8BBB-4713-9D8D-14E1E317CF4E}"/>
                </a:ext>
              </a:extLst>
            </p:cNvPr>
            <p:cNvSpPr/>
            <p:nvPr/>
          </p:nvSpPr>
          <p:spPr>
            <a:xfrm>
              <a:off x="-547376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63995385-35C1-4622-8E5F-8B72B12DD1BC}"/>
              </a:ext>
            </a:extLst>
          </p:cNvPr>
          <p:cNvCxnSpPr>
            <a:cxnSpLocks/>
          </p:cNvCxnSpPr>
          <p:nvPr userDrawn="1"/>
        </p:nvCxnSpPr>
        <p:spPr>
          <a:xfrm rot="10800000">
            <a:off x="2566053" y="188308"/>
            <a:ext cx="0" cy="111339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13465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ndo_Azul_Logo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00DCAC73-46A0-4F44-878E-B326B1156B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72001" y="3874500"/>
            <a:ext cx="3560099" cy="3560351"/>
          </a:xfrm>
        </p:spPr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6244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1906" y="1005348"/>
            <a:ext cx="18581435" cy="132081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612" y="2878162"/>
            <a:ext cx="6109282" cy="995381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1610" y="4059163"/>
            <a:ext cx="6109282" cy="4481854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</a:p>
          <a:p>
            <a:pPr lvl="0"/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7222" y="604676"/>
            <a:ext cx="18581437" cy="327239"/>
          </a:xfrm>
        </p:spPr>
        <p:txBody>
          <a:bodyPr>
            <a:noAutofit/>
          </a:bodyPr>
          <a:lstStyle>
            <a:lvl1pPr marL="0" indent="0">
              <a:buNone/>
              <a:defRPr sz="2144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1" name="Marcador de texto 2">
            <a:extLst>
              <a:ext uri="{FF2B5EF4-FFF2-40B4-BE49-F238E27FC236}">
                <a16:creationId xmlns:a16="http://schemas.microsoft.com/office/drawing/2014/main" id="{49473A57-1097-594F-8845-F871CEBEA0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268" y="48831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  <p:pic>
        <p:nvPicPr>
          <p:cNvPr id="9" name="Imagen 8" descr="Logotipo&#10;&#10;Descripción generada automáticamente">
            <a:extLst>
              <a:ext uri="{FF2B5EF4-FFF2-40B4-BE49-F238E27FC236}">
                <a16:creationId xmlns:a16="http://schemas.microsoft.com/office/drawing/2014/main" id="{A6048B23-2E4B-934A-997A-6D027B650C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075" y="10626634"/>
            <a:ext cx="2203259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1972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1905" y="1005348"/>
            <a:ext cx="18566122" cy="132081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612" y="2878162"/>
            <a:ext cx="8796035" cy="995381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1610" y="4059163"/>
            <a:ext cx="18571733" cy="2100281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	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7220" y="604676"/>
            <a:ext cx="18566122" cy="327239"/>
          </a:xfrm>
        </p:spPr>
        <p:txBody>
          <a:bodyPr>
            <a:noAutofit/>
          </a:bodyPr>
          <a:lstStyle>
            <a:lvl1pPr marL="0" indent="0">
              <a:buNone/>
              <a:defRPr sz="2144" b="1" cap="all" baseline="0">
                <a:latin typeface="+mn-lt"/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37EC0C27-5E8F-CE46-9D3F-E57743BA89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268" y="48831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  <p:pic>
        <p:nvPicPr>
          <p:cNvPr id="9" name="Imagen 8" descr="Logotipo&#10;&#10;Descripción generada automáticamente">
            <a:extLst>
              <a:ext uri="{FF2B5EF4-FFF2-40B4-BE49-F238E27FC236}">
                <a16:creationId xmlns:a16="http://schemas.microsoft.com/office/drawing/2014/main" id="{3DB10FCC-00D7-BB46-A490-E0341BEB9CD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075" y="10626634"/>
            <a:ext cx="2203259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1862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900" b="0" i="1">
                <a:solidFill>
                  <a:srgbClr val="0066FF"/>
                </a:solidFill>
                <a:latin typeface="Palatino Linotype"/>
                <a:cs typeface="Palatino Linotyp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7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o_Columna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5503" y="1005348"/>
            <a:ext cx="18562520" cy="132081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211" y="2870482"/>
            <a:ext cx="8772618" cy="2295387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. </a:t>
            </a:r>
            <a:r>
              <a:rPr lang="es-ES" err="1"/>
              <a:t>Nulla</a:t>
            </a:r>
            <a:r>
              <a:rPr lang="es-ES"/>
              <a:t> </a:t>
            </a:r>
            <a:r>
              <a:rPr lang="es-ES" err="1"/>
              <a:t>lacus</a:t>
            </a:r>
            <a:r>
              <a:rPr lang="es-ES"/>
              <a:t> </a:t>
            </a:r>
            <a:r>
              <a:rPr lang="es-ES" err="1"/>
              <a:t>dui</a:t>
            </a:r>
            <a:r>
              <a:rPr lang="es-ES"/>
              <a:t>, </a:t>
            </a:r>
            <a:r>
              <a:rPr lang="es-ES" err="1"/>
              <a:t>gravida</a:t>
            </a:r>
            <a:r>
              <a:rPr lang="es-ES"/>
              <a:t> </a:t>
            </a:r>
            <a:r>
              <a:rPr lang="es-ES" err="1"/>
              <a:t>ac</a:t>
            </a:r>
            <a:r>
              <a:rPr lang="es-ES"/>
              <a:t> ornare </a:t>
            </a:r>
            <a:r>
              <a:rPr lang="es-ES" err="1"/>
              <a:t>ac</a:t>
            </a:r>
            <a:r>
              <a:rPr lang="es-ES"/>
              <a:t>.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0819" y="604676"/>
            <a:ext cx="18562522" cy="327239"/>
          </a:xfrm>
        </p:spPr>
        <p:txBody>
          <a:bodyPr>
            <a:noAutofit/>
          </a:bodyPr>
          <a:lstStyle>
            <a:lvl1pPr marL="0" indent="0">
              <a:buNone/>
              <a:defRPr sz="2144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2" name="Marcador de texto 12">
            <a:extLst>
              <a:ext uri="{FF2B5EF4-FFF2-40B4-BE49-F238E27FC236}">
                <a16:creationId xmlns:a16="http://schemas.microsoft.com/office/drawing/2014/main" id="{BD8A9A29-247E-EA46-8CD4-1758841A8D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5211" y="5238643"/>
            <a:ext cx="8772618" cy="599966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13" name="Marcador de texto 14">
            <a:extLst>
              <a:ext uri="{FF2B5EF4-FFF2-40B4-BE49-F238E27FC236}">
                <a16:creationId xmlns:a16="http://schemas.microsoft.com/office/drawing/2014/main" id="{5271E3B7-3FD3-8440-9710-E3439F3EE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5210" y="5838609"/>
            <a:ext cx="8772620" cy="4481854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21" name="Marcador de texto 14">
            <a:extLst>
              <a:ext uri="{FF2B5EF4-FFF2-40B4-BE49-F238E27FC236}">
                <a16:creationId xmlns:a16="http://schemas.microsoft.com/office/drawing/2014/main" id="{01CE7070-5CE0-8D45-A606-20C768D30AD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472497" y="2870482"/>
            <a:ext cx="8772618" cy="2295387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. </a:t>
            </a:r>
            <a:r>
              <a:rPr lang="es-ES" err="1"/>
              <a:t>Nulla</a:t>
            </a:r>
            <a:r>
              <a:rPr lang="es-ES"/>
              <a:t> </a:t>
            </a:r>
            <a:r>
              <a:rPr lang="es-ES" err="1"/>
              <a:t>lacus</a:t>
            </a:r>
            <a:r>
              <a:rPr lang="es-ES"/>
              <a:t> </a:t>
            </a:r>
            <a:r>
              <a:rPr lang="es-ES" err="1"/>
              <a:t>dui</a:t>
            </a:r>
            <a:r>
              <a:rPr lang="es-ES"/>
              <a:t>, </a:t>
            </a:r>
            <a:r>
              <a:rPr lang="es-ES" err="1"/>
              <a:t>gravida</a:t>
            </a:r>
            <a:r>
              <a:rPr lang="es-ES"/>
              <a:t> </a:t>
            </a:r>
            <a:r>
              <a:rPr lang="es-ES" err="1"/>
              <a:t>ac</a:t>
            </a:r>
            <a:r>
              <a:rPr lang="es-ES"/>
              <a:t> ornare </a:t>
            </a:r>
            <a:r>
              <a:rPr lang="es-ES" err="1"/>
              <a:t>ac</a:t>
            </a:r>
            <a:r>
              <a:rPr lang="es-ES"/>
              <a:t>.</a:t>
            </a:r>
          </a:p>
        </p:txBody>
      </p:sp>
      <p:sp>
        <p:nvSpPr>
          <p:cNvPr id="22" name="Marcador de texto 12">
            <a:extLst>
              <a:ext uri="{FF2B5EF4-FFF2-40B4-BE49-F238E27FC236}">
                <a16:creationId xmlns:a16="http://schemas.microsoft.com/office/drawing/2014/main" id="{404E435A-E585-1841-9763-026093A593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72497" y="5238643"/>
            <a:ext cx="8772618" cy="599966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23" name="Marcador de texto 14">
            <a:extLst>
              <a:ext uri="{FF2B5EF4-FFF2-40B4-BE49-F238E27FC236}">
                <a16:creationId xmlns:a16="http://schemas.microsoft.com/office/drawing/2014/main" id="{5AB8C3F2-42FD-F745-A334-79067A11A4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472496" y="5838609"/>
            <a:ext cx="8772620" cy="4481854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26" name="Marcador de texto 2">
            <a:extLst>
              <a:ext uri="{FF2B5EF4-FFF2-40B4-BE49-F238E27FC236}">
                <a16:creationId xmlns:a16="http://schemas.microsoft.com/office/drawing/2014/main" id="{D4AE0868-A0F4-264A-9EA9-07A81DB503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48831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  <p:pic>
        <p:nvPicPr>
          <p:cNvPr id="14" name="Imagen 13" descr="Logotipo&#10;&#10;Descripción generada automáticamente">
            <a:extLst>
              <a:ext uri="{FF2B5EF4-FFF2-40B4-BE49-F238E27FC236}">
                <a16:creationId xmlns:a16="http://schemas.microsoft.com/office/drawing/2014/main" id="{6C25C4EE-2D24-0A45-A5C8-04F6D8142A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075" y="10626634"/>
            <a:ext cx="2203259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0486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o_Enfasis_Fondo_Bl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3983" y="2439924"/>
            <a:ext cx="15618698" cy="2620488"/>
          </a:xfrm>
        </p:spPr>
        <p:txBody>
          <a:bodyPr/>
          <a:lstStyle>
            <a:lvl1pPr>
              <a:defRPr sz="8245"/>
            </a:lvl1pPr>
          </a:lstStyle>
          <a:p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D7272F2-7A68-2949-92E4-20E4609AD5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326" y="5180835"/>
            <a:ext cx="18012551" cy="3442544"/>
          </a:xfrm>
        </p:spPr>
        <p:txBody>
          <a:bodyPr>
            <a:noAutofit/>
          </a:bodyPr>
          <a:lstStyle>
            <a:lvl1pPr>
              <a:defRPr sz="8245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sz="8245" b="1"/>
            </a:lvl2pPr>
            <a:lvl3pPr>
              <a:defRPr sz="8245" b="1"/>
            </a:lvl3pPr>
            <a:lvl4pPr>
              <a:defRPr sz="8245" b="1"/>
            </a:lvl4pPr>
            <a:lvl5pPr>
              <a:defRPr sz="8245" b="1"/>
            </a:lvl5pPr>
          </a:lstStyle>
          <a:p>
            <a:pPr lvl="0"/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.</a:t>
            </a:r>
          </a:p>
        </p:txBody>
      </p:sp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15203862-1283-E34D-BE23-248C9F6C36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002268" y="48831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  <p:pic>
        <p:nvPicPr>
          <p:cNvPr id="7" name="Imagen 6" descr="Logotipo&#10;&#10;Descripción generada automáticamente">
            <a:extLst>
              <a:ext uri="{FF2B5EF4-FFF2-40B4-BE49-F238E27FC236}">
                <a16:creationId xmlns:a16="http://schemas.microsoft.com/office/drawing/2014/main" id="{3EBA24FB-CF09-5441-A87C-25D4660CA5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075" y="10626634"/>
            <a:ext cx="2203259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4870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o_Enfasis_Fondo_Az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3983" y="2439924"/>
            <a:ext cx="15618698" cy="2620488"/>
          </a:xfrm>
        </p:spPr>
        <p:txBody>
          <a:bodyPr/>
          <a:lstStyle>
            <a:lvl1pPr>
              <a:defRPr sz="8245">
                <a:solidFill>
                  <a:schemeClr val="bg1"/>
                </a:solidFill>
              </a:defRPr>
            </a:lvl1pPr>
          </a:lstStyle>
          <a:p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D7272F2-7A68-2949-92E4-20E4609AD5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326" y="5180835"/>
            <a:ext cx="18012551" cy="3442544"/>
          </a:xfrm>
        </p:spPr>
        <p:txBody>
          <a:bodyPr>
            <a:noAutofit/>
          </a:bodyPr>
          <a:lstStyle>
            <a:lvl1pPr>
              <a:defRPr sz="8245" b="1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  <a:lvl2pPr>
              <a:defRPr sz="8245" b="1"/>
            </a:lvl2pPr>
            <a:lvl3pPr>
              <a:defRPr sz="8245" b="1"/>
            </a:lvl3pPr>
            <a:lvl4pPr>
              <a:defRPr sz="8245" b="1"/>
            </a:lvl4pPr>
            <a:lvl5pPr>
              <a:defRPr sz="8245" b="1"/>
            </a:lvl5pPr>
          </a:lstStyle>
          <a:p>
            <a:pPr lvl="0"/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.</a:t>
            </a:r>
          </a:p>
        </p:txBody>
      </p:sp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E485CB09-844D-904F-85A5-BB2AFEDBA8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002268" y="48831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  <p:pic>
        <p:nvPicPr>
          <p:cNvPr id="6" name="Imagen 5" descr="Imagen que contiene dibujo, alimentos, luz&#10;&#10;Descripción generada automáticamente">
            <a:extLst>
              <a:ext uri="{FF2B5EF4-FFF2-40B4-BE49-F238E27FC236}">
                <a16:creationId xmlns:a16="http://schemas.microsoft.com/office/drawing/2014/main" id="{80BE443C-0671-BB43-B12D-8284AF7728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076" y="10626634"/>
            <a:ext cx="2203261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4922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xt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470" y="1005348"/>
            <a:ext cx="8773357" cy="132081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4176" y="2878162"/>
            <a:ext cx="7577823" cy="995381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4175" y="4059163"/>
            <a:ext cx="7577821" cy="4481854"/>
          </a:xfrm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9788" y="604676"/>
            <a:ext cx="8758041" cy="327239"/>
          </a:xfrm>
        </p:spPr>
        <p:txBody>
          <a:bodyPr>
            <a:noAutofit/>
          </a:bodyPr>
          <a:lstStyle>
            <a:lvl1pPr marL="0" indent="0">
              <a:buNone/>
              <a:defRPr sz="2144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72221" y="917061"/>
            <a:ext cx="9496290" cy="952691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D505DD84-3AB6-8846-A315-20A1D68590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268" y="48831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  <p:pic>
        <p:nvPicPr>
          <p:cNvPr id="10" name="Imagen 9" descr="Logotipo&#10;&#10;Descripción generada automáticamente">
            <a:extLst>
              <a:ext uri="{FF2B5EF4-FFF2-40B4-BE49-F238E27FC236}">
                <a16:creationId xmlns:a16="http://schemas.microsoft.com/office/drawing/2014/main" id="{A855D18C-6E08-E244-B3C7-7BC9132374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075" y="10626634"/>
            <a:ext cx="2203259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3191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xt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B70B12B-8EC8-A743-A48B-40F9957BD415}"/>
              </a:ext>
            </a:extLst>
          </p:cNvPr>
          <p:cNvSpPr/>
          <p:nvPr userDrawn="1"/>
        </p:nvSpPr>
        <p:spPr>
          <a:xfrm>
            <a:off x="8863604" y="905795"/>
            <a:ext cx="9504906" cy="9505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470" y="1005348"/>
            <a:ext cx="8773357" cy="132081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4176" y="2878162"/>
            <a:ext cx="7577823" cy="995381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4175" y="4059163"/>
            <a:ext cx="7577821" cy="4481854"/>
          </a:xfrm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9788" y="604676"/>
            <a:ext cx="8758041" cy="327239"/>
          </a:xfrm>
        </p:spPr>
        <p:txBody>
          <a:bodyPr>
            <a:noAutofit/>
          </a:bodyPr>
          <a:lstStyle>
            <a:lvl1pPr marL="0" indent="0">
              <a:buNone/>
              <a:defRPr sz="2144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72221" y="917062"/>
            <a:ext cx="9475022" cy="950557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0" name="Marcador de texto 2">
            <a:extLst>
              <a:ext uri="{FF2B5EF4-FFF2-40B4-BE49-F238E27FC236}">
                <a16:creationId xmlns:a16="http://schemas.microsoft.com/office/drawing/2014/main" id="{A1802407-72B2-964E-B4A9-6250E65E73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268" y="48831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  <p:pic>
        <p:nvPicPr>
          <p:cNvPr id="11" name="Imagen 10" descr="Logotipo&#10;&#10;Descripción generada automáticamente">
            <a:extLst>
              <a:ext uri="{FF2B5EF4-FFF2-40B4-BE49-F238E27FC236}">
                <a16:creationId xmlns:a16="http://schemas.microsoft.com/office/drawing/2014/main" id="{A55CB4C7-9939-D348-8673-64B5480503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075" y="10626634"/>
            <a:ext cx="2203259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1086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xt_Imagen_Redonda_Fondo_Azu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470" y="1005348"/>
            <a:ext cx="8773357" cy="13208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4176" y="2878162"/>
            <a:ext cx="7577823" cy="995381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4174" y="4059163"/>
            <a:ext cx="7577823" cy="4481854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9787" y="604676"/>
            <a:ext cx="8758040" cy="327239"/>
          </a:xfrm>
        </p:spPr>
        <p:txBody>
          <a:bodyPr>
            <a:noAutofit/>
          </a:bodyPr>
          <a:lstStyle>
            <a:lvl1pPr marL="0" indent="0">
              <a:buNone/>
              <a:defRPr sz="2144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872221" y="917061"/>
            <a:ext cx="9496290" cy="9526910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marR="0" indent="0" algn="ctr" defTabSz="1507846" rtl="0" eaLnBrk="1" fontAlgn="auto" latinLnBrk="0" hangingPunct="1">
              <a:lnSpc>
                <a:spcPct val="90000"/>
              </a:lnSpc>
              <a:spcBef>
                <a:spcPts val="1649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38"/>
            </a:lvl1pPr>
          </a:lstStyle>
          <a:p>
            <a:pPr marL="0" marR="0" lvl="0" indent="0" algn="ctr" defTabSz="1507846" rtl="0" eaLnBrk="1" fontAlgn="auto" latinLnBrk="0" hangingPunct="1">
              <a:lnSpc>
                <a:spcPct val="90000"/>
              </a:lnSpc>
              <a:spcBef>
                <a:spcPts val="164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770CF6B8-8544-A549-84E5-D504D346D2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268" y="48831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  <p:pic>
        <p:nvPicPr>
          <p:cNvPr id="10" name="Imagen 9" descr="Imagen que contiene dibujo, alimentos, luz&#10;&#10;Descripción generada automáticamente">
            <a:extLst>
              <a:ext uri="{FF2B5EF4-FFF2-40B4-BE49-F238E27FC236}">
                <a16:creationId xmlns:a16="http://schemas.microsoft.com/office/drawing/2014/main" id="{094F722D-C8AB-1942-99D5-5A11477E9F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076" y="10626634"/>
            <a:ext cx="2203261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8925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o_Con_Imagen_Cuadra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1906" y="1005348"/>
            <a:ext cx="6109282" cy="132081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612" y="2878162"/>
            <a:ext cx="6109282" cy="995381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1610" y="4059163"/>
            <a:ext cx="6109282" cy="4481854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7221" y="604676"/>
            <a:ext cx="6109282" cy="327239"/>
          </a:xfrm>
        </p:spPr>
        <p:txBody>
          <a:bodyPr>
            <a:noAutofit/>
          </a:bodyPr>
          <a:lstStyle>
            <a:lvl1pPr marL="0" indent="0">
              <a:buNone/>
              <a:defRPr sz="2144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0" name="Marcador de posición de imagen 9">
            <a:extLst>
              <a:ext uri="{FF2B5EF4-FFF2-40B4-BE49-F238E27FC236}">
                <a16:creationId xmlns:a16="http://schemas.microsoft.com/office/drawing/2014/main" id="{D24A2D91-FE07-DD4B-8E90-1BD3F7A378A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083554" y="905795"/>
            <a:ext cx="12169263" cy="9497760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397F4A28-618B-D442-A382-B99307487F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002268" y="48831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  <p:pic>
        <p:nvPicPr>
          <p:cNvPr id="11" name="Imagen 10" descr="Logotipo&#10;&#10;Descripción generada automáticamente">
            <a:extLst>
              <a:ext uri="{FF2B5EF4-FFF2-40B4-BE49-F238E27FC236}">
                <a16:creationId xmlns:a16="http://schemas.microsoft.com/office/drawing/2014/main" id="{00ED88C8-AB10-7D4A-B473-D39649D0CC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075" y="10626634"/>
            <a:ext cx="2203259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9662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o_Con_Imagenes_Cuadrada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470" y="1005348"/>
            <a:ext cx="18553553" cy="132081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9786" y="604676"/>
            <a:ext cx="18553555" cy="327239"/>
          </a:xfrm>
        </p:spPr>
        <p:txBody>
          <a:bodyPr>
            <a:noAutofit/>
          </a:bodyPr>
          <a:lstStyle>
            <a:lvl1pPr marL="0" indent="0">
              <a:buNone/>
              <a:defRPr sz="2144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E166127-948E-434C-90AC-DEE04C3D91A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50760" y="2685973"/>
            <a:ext cx="9083495" cy="7717583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/>
              <a:t>Imagen </a:t>
            </a:r>
          </a:p>
        </p:txBody>
      </p:sp>
      <p:sp>
        <p:nvSpPr>
          <p:cNvPr id="19" name="Marcador de posición de imagen 9">
            <a:extLst>
              <a:ext uri="{FF2B5EF4-FFF2-40B4-BE49-F238E27FC236}">
                <a16:creationId xmlns:a16="http://schemas.microsoft.com/office/drawing/2014/main" id="{FD434FA2-08C3-B04D-956F-2D1EAED7F44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0169848" y="2685971"/>
            <a:ext cx="9086489" cy="7717583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/>
              <a:t>Imagen </a:t>
            </a:r>
          </a:p>
        </p:txBody>
      </p:sp>
      <p:sp>
        <p:nvSpPr>
          <p:cNvPr id="22" name="Marcador de texto 2">
            <a:extLst>
              <a:ext uri="{FF2B5EF4-FFF2-40B4-BE49-F238E27FC236}">
                <a16:creationId xmlns:a16="http://schemas.microsoft.com/office/drawing/2014/main" id="{F526D8D0-1560-7947-8798-DAB6816951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50067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  <p:pic>
        <p:nvPicPr>
          <p:cNvPr id="9" name="Imagen 8" descr="Logotipo&#10;&#10;Descripción generada automáticamente">
            <a:extLst>
              <a:ext uri="{FF2B5EF4-FFF2-40B4-BE49-F238E27FC236}">
                <a16:creationId xmlns:a16="http://schemas.microsoft.com/office/drawing/2014/main" id="{BE504E56-54C2-B94A-94AA-3E850A216A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075" y="10626634"/>
            <a:ext cx="2203259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3173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A_Texto_Imag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868" y="1005348"/>
            <a:ext cx="6409686" cy="132081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3574" y="2878162"/>
            <a:ext cx="6399980" cy="995381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3572" y="4059163"/>
            <a:ext cx="6399978" cy="4481854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3868" y="604676"/>
            <a:ext cx="6409686" cy="327239"/>
          </a:xfrm>
        </p:spPr>
        <p:txBody>
          <a:bodyPr>
            <a:noAutofit/>
          </a:bodyPr>
          <a:lstStyle>
            <a:lvl1pPr marL="0" indent="0">
              <a:buNone/>
              <a:defRPr sz="2144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F014C1F-5DA6-BD48-8CB8-F7316AD404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261558" y="905736"/>
            <a:ext cx="5936994" cy="9497760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5" name="Marcador de posición de imagen 9">
            <a:extLst>
              <a:ext uri="{FF2B5EF4-FFF2-40B4-BE49-F238E27FC236}">
                <a16:creationId xmlns:a16="http://schemas.microsoft.com/office/drawing/2014/main" id="{4DF4394C-AC73-B248-B9C9-EE57E9E5441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3316348" y="905736"/>
            <a:ext cx="5936994" cy="9497760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7" name="Marcador de texto 2">
            <a:extLst>
              <a:ext uri="{FF2B5EF4-FFF2-40B4-BE49-F238E27FC236}">
                <a16:creationId xmlns:a16="http://schemas.microsoft.com/office/drawing/2014/main" id="{64326B59-DC1B-884E-BD3B-63353753229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002268" y="50067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  <p:pic>
        <p:nvPicPr>
          <p:cNvPr id="11" name="Imagen 10" descr="Logotipo&#10;&#10;Descripción generada automáticamente">
            <a:extLst>
              <a:ext uri="{FF2B5EF4-FFF2-40B4-BE49-F238E27FC236}">
                <a16:creationId xmlns:a16="http://schemas.microsoft.com/office/drawing/2014/main" id="{5186B3B2-D59A-9545-8F08-44615527BF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075" y="10626634"/>
            <a:ext cx="2203259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5310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A_Texto_Imag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871" y="1005348"/>
            <a:ext cx="6109282" cy="132081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3577" y="2878162"/>
            <a:ext cx="6109282" cy="995381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3576" y="4059163"/>
            <a:ext cx="6109282" cy="4481854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  <a:br>
              <a:rPr lang="es-ES"/>
            </a:br>
            <a:r>
              <a:rPr lang="es-ES" err="1"/>
              <a:t>Aliquam</a:t>
            </a:r>
            <a:r>
              <a:rPr lang="es-ES"/>
              <a:t> 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9187" y="604676"/>
            <a:ext cx="6109282" cy="327239"/>
          </a:xfrm>
        </p:spPr>
        <p:txBody>
          <a:bodyPr>
            <a:noAutofit/>
          </a:bodyPr>
          <a:lstStyle>
            <a:lvl1pPr marL="0" indent="0">
              <a:buNone/>
              <a:defRPr sz="2144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12" name="Marcador de posición de imagen 9">
            <a:extLst>
              <a:ext uri="{FF2B5EF4-FFF2-40B4-BE49-F238E27FC236}">
                <a16:creationId xmlns:a16="http://schemas.microsoft.com/office/drawing/2014/main" id="{AF014C1F-5DA6-BD48-8CB8-F7316AD404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42974" y="905795"/>
            <a:ext cx="6094055" cy="4693153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0" name="Marcador de posición de imagen 9">
            <a:extLst>
              <a:ext uri="{FF2B5EF4-FFF2-40B4-BE49-F238E27FC236}">
                <a16:creationId xmlns:a16="http://schemas.microsoft.com/office/drawing/2014/main" id="{D02795F5-6C12-834F-B019-D7809BB331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3157763" y="905795"/>
            <a:ext cx="6094055" cy="4693153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3" name="Marcador de posición de imagen 9">
            <a:extLst>
              <a:ext uri="{FF2B5EF4-FFF2-40B4-BE49-F238E27FC236}">
                <a16:creationId xmlns:a16="http://schemas.microsoft.com/office/drawing/2014/main" id="{2AC0C1AC-37D1-D940-8C55-C962846D9A3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942974" y="5715263"/>
            <a:ext cx="6094055" cy="4693153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4" name="Marcador de posición de imagen 9">
            <a:extLst>
              <a:ext uri="{FF2B5EF4-FFF2-40B4-BE49-F238E27FC236}">
                <a16:creationId xmlns:a16="http://schemas.microsoft.com/office/drawing/2014/main" id="{C6F7ED5A-3746-7945-9845-224AFBD2E4B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3157763" y="5715263"/>
            <a:ext cx="6094055" cy="4693153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 err="1"/>
              <a:t>Imágen</a:t>
            </a:r>
            <a:endParaRPr lang="es-ES"/>
          </a:p>
        </p:txBody>
      </p:sp>
      <p:sp>
        <p:nvSpPr>
          <p:cNvPr id="18" name="Marcador de texto 2">
            <a:extLst>
              <a:ext uri="{FF2B5EF4-FFF2-40B4-BE49-F238E27FC236}">
                <a16:creationId xmlns:a16="http://schemas.microsoft.com/office/drawing/2014/main" id="{49922441-6D6B-D444-BB01-FD35AF058FC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002268" y="50067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  <p:pic>
        <p:nvPicPr>
          <p:cNvPr id="15" name="Imagen 14" descr="Logotipo&#10;&#10;Descripción generada automáticamente">
            <a:extLst>
              <a:ext uri="{FF2B5EF4-FFF2-40B4-BE49-F238E27FC236}">
                <a16:creationId xmlns:a16="http://schemas.microsoft.com/office/drawing/2014/main" id="{D792022F-A6DF-0A4A-A88C-14A7F361002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075" y="10626634"/>
            <a:ext cx="2203259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67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900" b="0" i="1">
                <a:solidFill>
                  <a:srgbClr val="0066FF"/>
                </a:solidFill>
                <a:latin typeface="Palatino Linotype"/>
                <a:cs typeface="Palatino Linotyp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005205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0353611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7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o_Imagen_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869" y="1005348"/>
            <a:ext cx="18579471" cy="132081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61334" y="8978243"/>
            <a:ext cx="5334877" cy="968378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9185" y="604676"/>
            <a:ext cx="18564156" cy="327239"/>
          </a:xfrm>
        </p:spPr>
        <p:txBody>
          <a:bodyPr>
            <a:noAutofit/>
          </a:bodyPr>
          <a:lstStyle>
            <a:lvl1pPr marL="0" indent="0">
              <a:buNone/>
              <a:defRPr sz="2144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453440" y="2687856"/>
            <a:ext cx="5342770" cy="535999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0" name="Marcador de posición de imagen 16">
            <a:extLst>
              <a:ext uri="{FF2B5EF4-FFF2-40B4-BE49-F238E27FC236}">
                <a16:creationId xmlns:a16="http://schemas.microsoft.com/office/drawing/2014/main" id="{C9BE40AB-DD10-EA46-9CA3-54E8B95B7B2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403604" y="2687856"/>
            <a:ext cx="5342770" cy="535999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1" name="Marcador de posición de imagen 16">
            <a:extLst>
              <a:ext uri="{FF2B5EF4-FFF2-40B4-BE49-F238E27FC236}">
                <a16:creationId xmlns:a16="http://schemas.microsoft.com/office/drawing/2014/main" id="{FD619271-213E-D646-A710-71914F2B32C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3337553" y="2687856"/>
            <a:ext cx="5342770" cy="535999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53440" y="8220458"/>
            <a:ext cx="5342770" cy="733013"/>
          </a:xfrm>
        </p:spPr>
        <p:txBody>
          <a:bodyPr/>
          <a:lstStyle>
            <a:lvl1pPr algn="ctr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endParaRPr lang="es-ES"/>
          </a:p>
        </p:txBody>
      </p:sp>
      <p:sp>
        <p:nvSpPr>
          <p:cNvPr id="13" name="Marcador de texto 14">
            <a:extLst>
              <a:ext uri="{FF2B5EF4-FFF2-40B4-BE49-F238E27FC236}">
                <a16:creationId xmlns:a16="http://schemas.microsoft.com/office/drawing/2014/main" id="{41FEAD28-B0C6-7045-ACB6-9220400C01D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03870" y="8978243"/>
            <a:ext cx="5334877" cy="968378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14" name="Marcador de texto 11">
            <a:extLst>
              <a:ext uri="{FF2B5EF4-FFF2-40B4-BE49-F238E27FC236}">
                <a16:creationId xmlns:a16="http://schemas.microsoft.com/office/drawing/2014/main" id="{3DC58B0B-28AC-3741-81D4-FCAC09C941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95976" y="8220458"/>
            <a:ext cx="5342770" cy="733013"/>
          </a:xfrm>
        </p:spPr>
        <p:txBody>
          <a:bodyPr/>
          <a:lstStyle>
            <a:lvl1pPr algn="ctr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endParaRPr lang="es-ES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89EEEAB2-D851-3C4A-AD34-0D6D4B6A1D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340862" y="8978243"/>
            <a:ext cx="5334877" cy="968378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</a:t>
            </a:r>
          </a:p>
        </p:txBody>
      </p:sp>
      <p:sp>
        <p:nvSpPr>
          <p:cNvPr id="16" name="Marcador de texto 11">
            <a:extLst>
              <a:ext uri="{FF2B5EF4-FFF2-40B4-BE49-F238E27FC236}">
                <a16:creationId xmlns:a16="http://schemas.microsoft.com/office/drawing/2014/main" id="{A73ED5A7-EBB5-C74D-A8C8-D8B8868EC5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332968" y="8220458"/>
            <a:ext cx="5342770" cy="733013"/>
          </a:xfrm>
        </p:spPr>
        <p:txBody>
          <a:bodyPr/>
          <a:lstStyle>
            <a:lvl1pPr algn="ctr"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endParaRPr lang="es-ES"/>
          </a:p>
        </p:txBody>
      </p:sp>
      <p:sp>
        <p:nvSpPr>
          <p:cNvPr id="20" name="Marcador de texto 2">
            <a:extLst>
              <a:ext uri="{FF2B5EF4-FFF2-40B4-BE49-F238E27FC236}">
                <a16:creationId xmlns:a16="http://schemas.microsoft.com/office/drawing/2014/main" id="{791DDE1D-4495-FC40-8CAE-8A84E9BF83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50067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  <p:pic>
        <p:nvPicPr>
          <p:cNvPr id="17" name="Imagen 16" descr="Logotipo&#10;&#10;Descripción generada automáticamente">
            <a:extLst>
              <a:ext uri="{FF2B5EF4-FFF2-40B4-BE49-F238E27FC236}">
                <a16:creationId xmlns:a16="http://schemas.microsoft.com/office/drawing/2014/main" id="{C7B3E624-B003-9041-8B56-CA86A878D32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075" y="10626634"/>
            <a:ext cx="2203259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0456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eam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867" y="1005348"/>
            <a:ext cx="18579475" cy="132081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6562" y="8209310"/>
            <a:ext cx="3562720" cy="821084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9184" y="604676"/>
            <a:ext cx="18564158" cy="327239"/>
          </a:xfrm>
        </p:spPr>
        <p:txBody>
          <a:bodyPr>
            <a:noAutofit/>
          </a:bodyPr>
          <a:lstStyle>
            <a:lvl1pPr marL="0" indent="0">
              <a:buNone/>
              <a:defRPr sz="2144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55363" y="3256729"/>
            <a:ext cx="3553919" cy="356537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5362" y="7001366"/>
            <a:ext cx="3553921" cy="1213620"/>
          </a:xfrm>
        </p:spPr>
        <p:txBody>
          <a:bodyPr/>
          <a:lstStyle>
            <a:lvl1pPr algn="ctr">
              <a:spcBef>
                <a:spcPts val="1154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19" name="Marcador de posición de imagen 16">
            <a:extLst>
              <a:ext uri="{FF2B5EF4-FFF2-40B4-BE49-F238E27FC236}">
                <a16:creationId xmlns:a16="http://schemas.microsoft.com/office/drawing/2014/main" id="{631FA06F-BB94-1547-AA35-322C04EA3E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888204" y="3256729"/>
            <a:ext cx="3553919" cy="356537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0" name="Marcador de posición de imagen 16">
            <a:extLst>
              <a:ext uri="{FF2B5EF4-FFF2-40B4-BE49-F238E27FC236}">
                <a16:creationId xmlns:a16="http://schemas.microsoft.com/office/drawing/2014/main" id="{FFB6F081-65FA-5444-B178-C8C515CA98B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662927" y="3256729"/>
            <a:ext cx="3553919" cy="356537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1" name="Marcador de posición de imagen 16">
            <a:extLst>
              <a:ext uri="{FF2B5EF4-FFF2-40B4-BE49-F238E27FC236}">
                <a16:creationId xmlns:a16="http://schemas.microsoft.com/office/drawing/2014/main" id="{FFF32748-DA21-E849-B2DA-1EA06A27552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5423689" y="3256729"/>
            <a:ext cx="3553919" cy="356537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2" name="Marcador de texto 14">
            <a:extLst>
              <a:ext uri="{FF2B5EF4-FFF2-40B4-BE49-F238E27FC236}">
                <a16:creationId xmlns:a16="http://schemas.microsoft.com/office/drawing/2014/main" id="{036F7987-8FA3-1044-8541-C8D4C14E0B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97577" y="8209310"/>
            <a:ext cx="3562720" cy="821084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3" name="Marcador de texto 11">
            <a:extLst>
              <a:ext uri="{FF2B5EF4-FFF2-40B4-BE49-F238E27FC236}">
                <a16:creationId xmlns:a16="http://schemas.microsoft.com/office/drawing/2014/main" id="{51B502D4-B871-E749-985C-54A08220FC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906377" y="7001366"/>
            <a:ext cx="3553921" cy="1213620"/>
          </a:xfrm>
        </p:spPr>
        <p:txBody>
          <a:bodyPr/>
          <a:lstStyle>
            <a:lvl1pPr algn="ctr">
              <a:spcBef>
                <a:spcPts val="1154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24" name="Marcador de texto 14">
            <a:extLst>
              <a:ext uri="{FF2B5EF4-FFF2-40B4-BE49-F238E27FC236}">
                <a16:creationId xmlns:a16="http://schemas.microsoft.com/office/drawing/2014/main" id="{9742DBBF-AE43-A049-8432-89B2517310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648592" y="8209310"/>
            <a:ext cx="3562720" cy="821084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5" name="Marcador de texto 11">
            <a:extLst>
              <a:ext uri="{FF2B5EF4-FFF2-40B4-BE49-F238E27FC236}">
                <a16:creationId xmlns:a16="http://schemas.microsoft.com/office/drawing/2014/main" id="{57F86298-EE3F-E041-9C85-E6188E4F90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657392" y="7001366"/>
            <a:ext cx="3553921" cy="1213620"/>
          </a:xfrm>
        </p:spPr>
        <p:txBody>
          <a:bodyPr/>
          <a:lstStyle>
            <a:lvl1pPr algn="ctr">
              <a:spcBef>
                <a:spcPts val="1154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26" name="Marcador de texto 14">
            <a:extLst>
              <a:ext uri="{FF2B5EF4-FFF2-40B4-BE49-F238E27FC236}">
                <a16:creationId xmlns:a16="http://schemas.microsoft.com/office/drawing/2014/main" id="{E83C6E39-64F2-6D47-A27E-18F5BBD664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399608" y="8209310"/>
            <a:ext cx="3562720" cy="821084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7" name="Marcador de texto 11">
            <a:extLst>
              <a:ext uri="{FF2B5EF4-FFF2-40B4-BE49-F238E27FC236}">
                <a16:creationId xmlns:a16="http://schemas.microsoft.com/office/drawing/2014/main" id="{892AF2E6-A462-6A4F-8764-EBCA98B4F2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408409" y="7001366"/>
            <a:ext cx="3553921" cy="1213620"/>
          </a:xfrm>
        </p:spPr>
        <p:txBody>
          <a:bodyPr/>
          <a:lstStyle>
            <a:lvl1pPr algn="ctr">
              <a:spcBef>
                <a:spcPts val="1154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30" name="Marcador de texto 2">
            <a:extLst>
              <a:ext uri="{FF2B5EF4-FFF2-40B4-BE49-F238E27FC236}">
                <a16:creationId xmlns:a16="http://schemas.microsoft.com/office/drawing/2014/main" id="{00CA439B-A2E9-AB47-81AE-731F953664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50067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  <p:pic>
        <p:nvPicPr>
          <p:cNvPr id="28" name="Imagen 27" descr="Logotipo&#10;&#10;Descripción generada automáticamente">
            <a:extLst>
              <a:ext uri="{FF2B5EF4-FFF2-40B4-BE49-F238E27FC236}">
                <a16:creationId xmlns:a16="http://schemas.microsoft.com/office/drawing/2014/main" id="{40944CE7-9CA0-744A-BDB6-23D82CC2E0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075" y="10626634"/>
            <a:ext cx="2203259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5515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eam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ángulo 17">
            <a:extLst>
              <a:ext uri="{FF2B5EF4-FFF2-40B4-BE49-F238E27FC236}">
                <a16:creationId xmlns:a16="http://schemas.microsoft.com/office/drawing/2014/main" id="{7BF74AC2-6052-DE44-A2F8-685D64C198B3}"/>
              </a:ext>
            </a:extLst>
          </p:cNvPr>
          <p:cNvSpPr/>
          <p:nvPr userDrawn="1"/>
        </p:nvSpPr>
        <p:spPr>
          <a:xfrm>
            <a:off x="1146561" y="3280235"/>
            <a:ext cx="3562721" cy="35653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867" y="1005348"/>
            <a:ext cx="18579475" cy="132081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6562" y="8209310"/>
            <a:ext cx="3562720" cy="821084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9184" y="604676"/>
            <a:ext cx="18564158" cy="327239"/>
          </a:xfrm>
        </p:spPr>
        <p:txBody>
          <a:bodyPr>
            <a:noAutofit/>
          </a:bodyPr>
          <a:lstStyle>
            <a:lvl1pPr marL="0" indent="0">
              <a:buNone/>
              <a:defRPr sz="2144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51797" y="3280237"/>
            <a:ext cx="3553919" cy="356537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5362" y="7001366"/>
            <a:ext cx="3553921" cy="1213620"/>
          </a:xfrm>
        </p:spPr>
        <p:txBody>
          <a:bodyPr/>
          <a:lstStyle>
            <a:lvl1pPr algn="ctr">
              <a:spcBef>
                <a:spcPts val="1154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22" name="Marcador de texto 14">
            <a:extLst>
              <a:ext uri="{FF2B5EF4-FFF2-40B4-BE49-F238E27FC236}">
                <a16:creationId xmlns:a16="http://schemas.microsoft.com/office/drawing/2014/main" id="{036F7987-8FA3-1044-8541-C8D4C14E0B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97577" y="8209310"/>
            <a:ext cx="3562720" cy="821084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3" name="Marcador de texto 11">
            <a:extLst>
              <a:ext uri="{FF2B5EF4-FFF2-40B4-BE49-F238E27FC236}">
                <a16:creationId xmlns:a16="http://schemas.microsoft.com/office/drawing/2014/main" id="{51B502D4-B871-E749-985C-54A08220FC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906377" y="7001366"/>
            <a:ext cx="3553921" cy="1213620"/>
          </a:xfrm>
        </p:spPr>
        <p:txBody>
          <a:bodyPr/>
          <a:lstStyle>
            <a:lvl1pPr algn="ctr">
              <a:spcBef>
                <a:spcPts val="1154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24" name="Marcador de texto 14">
            <a:extLst>
              <a:ext uri="{FF2B5EF4-FFF2-40B4-BE49-F238E27FC236}">
                <a16:creationId xmlns:a16="http://schemas.microsoft.com/office/drawing/2014/main" id="{9742DBBF-AE43-A049-8432-89B2517310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648592" y="8209310"/>
            <a:ext cx="3562720" cy="821084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5" name="Marcador de texto 11">
            <a:extLst>
              <a:ext uri="{FF2B5EF4-FFF2-40B4-BE49-F238E27FC236}">
                <a16:creationId xmlns:a16="http://schemas.microsoft.com/office/drawing/2014/main" id="{57F86298-EE3F-E041-9C85-E6188E4F90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657392" y="7001366"/>
            <a:ext cx="3553921" cy="1213620"/>
          </a:xfrm>
        </p:spPr>
        <p:txBody>
          <a:bodyPr/>
          <a:lstStyle>
            <a:lvl1pPr algn="ctr">
              <a:spcBef>
                <a:spcPts val="1154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26" name="Marcador de texto 14">
            <a:extLst>
              <a:ext uri="{FF2B5EF4-FFF2-40B4-BE49-F238E27FC236}">
                <a16:creationId xmlns:a16="http://schemas.microsoft.com/office/drawing/2014/main" id="{E83C6E39-64F2-6D47-A27E-18F5BBD664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399608" y="8209310"/>
            <a:ext cx="3562720" cy="821084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7" name="Marcador de texto 11">
            <a:extLst>
              <a:ext uri="{FF2B5EF4-FFF2-40B4-BE49-F238E27FC236}">
                <a16:creationId xmlns:a16="http://schemas.microsoft.com/office/drawing/2014/main" id="{892AF2E6-A462-6A4F-8764-EBCA98B4F2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408409" y="7001366"/>
            <a:ext cx="3553921" cy="1213620"/>
          </a:xfrm>
        </p:spPr>
        <p:txBody>
          <a:bodyPr/>
          <a:lstStyle>
            <a:lvl1pPr algn="ctr">
              <a:spcBef>
                <a:spcPts val="1154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72FAA048-4B5D-4E46-AC16-7452B6E31003}"/>
              </a:ext>
            </a:extLst>
          </p:cNvPr>
          <p:cNvSpPr/>
          <p:nvPr userDrawn="1"/>
        </p:nvSpPr>
        <p:spPr>
          <a:xfrm>
            <a:off x="5900343" y="3280235"/>
            <a:ext cx="3562721" cy="35653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0" name="Marcador de posición de imagen 16">
            <a:extLst>
              <a:ext uri="{FF2B5EF4-FFF2-40B4-BE49-F238E27FC236}">
                <a16:creationId xmlns:a16="http://schemas.microsoft.com/office/drawing/2014/main" id="{7738A7D9-3E3A-9B40-A1C7-8018C92133D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905579" y="3280237"/>
            <a:ext cx="3553919" cy="356537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D2301D21-EF7B-7C46-A309-9161F0D613A6}"/>
              </a:ext>
            </a:extLst>
          </p:cNvPr>
          <p:cNvSpPr/>
          <p:nvPr userDrawn="1"/>
        </p:nvSpPr>
        <p:spPr>
          <a:xfrm>
            <a:off x="10654125" y="3280235"/>
            <a:ext cx="3562721" cy="35653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2" name="Marcador de posición de imagen 16">
            <a:extLst>
              <a:ext uri="{FF2B5EF4-FFF2-40B4-BE49-F238E27FC236}">
                <a16:creationId xmlns:a16="http://schemas.microsoft.com/office/drawing/2014/main" id="{8BDA6A37-0168-9148-B73A-E2361E04F379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0659361" y="3280237"/>
            <a:ext cx="3553919" cy="356537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006BD6CA-9D28-324D-8CAC-1A48D712C4C0}"/>
              </a:ext>
            </a:extLst>
          </p:cNvPr>
          <p:cNvSpPr/>
          <p:nvPr userDrawn="1"/>
        </p:nvSpPr>
        <p:spPr>
          <a:xfrm>
            <a:off x="15397436" y="3280235"/>
            <a:ext cx="3562721" cy="35653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4" name="Marcador de posición de imagen 16">
            <a:extLst>
              <a:ext uri="{FF2B5EF4-FFF2-40B4-BE49-F238E27FC236}">
                <a16:creationId xmlns:a16="http://schemas.microsoft.com/office/drawing/2014/main" id="{BED1A7FE-CD5F-FB4C-A982-6E2C839CD34F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5402672" y="3280237"/>
            <a:ext cx="3553919" cy="356537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35" name="Marcador de texto 2">
            <a:extLst>
              <a:ext uri="{FF2B5EF4-FFF2-40B4-BE49-F238E27FC236}">
                <a16:creationId xmlns:a16="http://schemas.microsoft.com/office/drawing/2014/main" id="{6A1BD156-851D-AA43-AD36-3AC6C87568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50067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  <p:pic>
        <p:nvPicPr>
          <p:cNvPr id="36" name="Imagen 35" descr="Logotipo&#10;&#10;Descripción generada automáticamente">
            <a:extLst>
              <a:ext uri="{FF2B5EF4-FFF2-40B4-BE49-F238E27FC236}">
                <a16:creationId xmlns:a16="http://schemas.microsoft.com/office/drawing/2014/main" id="{21AA24EC-CC8D-6D46-B678-A12744AAA9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075" y="10626634"/>
            <a:ext cx="2203259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7709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eam_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868" y="1005348"/>
            <a:ext cx="18579473" cy="13208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6562" y="8210197"/>
            <a:ext cx="3562720" cy="821084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9184" y="604676"/>
            <a:ext cx="18564158" cy="327239"/>
          </a:xfrm>
        </p:spPr>
        <p:txBody>
          <a:bodyPr>
            <a:noAutofit/>
          </a:bodyPr>
          <a:lstStyle>
            <a:lvl1pPr marL="0" indent="0">
              <a:buNone/>
              <a:defRPr sz="2144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posición de imagen 16">
            <a:extLst>
              <a:ext uri="{FF2B5EF4-FFF2-40B4-BE49-F238E27FC236}">
                <a16:creationId xmlns:a16="http://schemas.microsoft.com/office/drawing/2014/main" id="{5B4AB479-D2A3-0743-834C-177715CF06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55363" y="3256729"/>
            <a:ext cx="3553919" cy="356537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AA7A33E1-C130-BD47-88FB-050C3920F6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55362" y="7001366"/>
            <a:ext cx="3553921" cy="1213620"/>
          </a:xfrm>
        </p:spPr>
        <p:txBody>
          <a:bodyPr/>
          <a:lstStyle>
            <a:lvl1pPr algn="ctr">
              <a:spcBef>
                <a:spcPts val="1154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19" name="Marcador de posición de imagen 16">
            <a:extLst>
              <a:ext uri="{FF2B5EF4-FFF2-40B4-BE49-F238E27FC236}">
                <a16:creationId xmlns:a16="http://schemas.microsoft.com/office/drawing/2014/main" id="{631FA06F-BB94-1547-AA35-322C04EA3E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888204" y="3256729"/>
            <a:ext cx="3553919" cy="356537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0" name="Marcador de posición de imagen 16">
            <a:extLst>
              <a:ext uri="{FF2B5EF4-FFF2-40B4-BE49-F238E27FC236}">
                <a16:creationId xmlns:a16="http://schemas.microsoft.com/office/drawing/2014/main" id="{FFB6F081-65FA-5444-B178-C8C515CA98B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662927" y="3256729"/>
            <a:ext cx="3553919" cy="356537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1" name="Marcador de posición de imagen 16">
            <a:extLst>
              <a:ext uri="{FF2B5EF4-FFF2-40B4-BE49-F238E27FC236}">
                <a16:creationId xmlns:a16="http://schemas.microsoft.com/office/drawing/2014/main" id="{FFF32748-DA21-E849-B2DA-1EA06A27552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5423689" y="3256729"/>
            <a:ext cx="3553919" cy="356537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algn="ctr">
              <a:defRPr sz="2638"/>
            </a:lvl1pPr>
          </a:lstStyle>
          <a:p>
            <a:r>
              <a:rPr lang="es-ES"/>
              <a:t>Inserte </a:t>
            </a:r>
            <a:r>
              <a:rPr lang="es-ES" err="1"/>
              <a:t>imágen</a:t>
            </a:r>
            <a:endParaRPr lang="es-ES"/>
          </a:p>
        </p:txBody>
      </p:sp>
      <p:sp>
        <p:nvSpPr>
          <p:cNvPr id="22" name="Marcador de texto 14">
            <a:extLst>
              <a:ext uri="{FF2B5EF4-FFF2-40B4-BE49-F238E27FC236}">
                <a16:creationId xmlns:a16="http://schemas.microsoft.com/office/drawing/2014/main" id="{036F7987-8FA3-1044-8541-C8D4C14E0B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97577" y="8210197"/>
            <a:ext cx="3562720" cy="821084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3" name="Marcador de texto 11">
            <a:extLst>
              <a:ext uri="{FF2B5EF4-FFF2-40B4-BE49-F238E27FC236}">
                <a16:creationId xmlns:a16="http://schemas.microsoft.com/office/drawing/2014/main" id="{51B502D4-B871-E749-985C-54A08220FC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906377" y="7001366"/>
            <a:ext cx="3553921" cy="1213620"/>
          </a:xfrm>
        </p:spPr>
        <p:txBody>
          <a:bodyPr/>
          <a:lstStyle>
            <a:lvl1pPr algn="ctr">
              <a:spcBef>
                <a:spcPts val="1154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24" name="Marcador de texto 14">
            <a:extLst>
              <a:ext uri="{FF2B5EF4-FFF2-40B4-BE49-F238E27FC236}">
                <a16:creationId xmlns:a16="http://schemas.microsoft.com/office/drawing/2014/main" id="{9742DBBF-AE43-A049-8432-89B2517310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648592" y="8210197"/>
            <a:ext cx="3562720" cy="821084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5" name="Marcador de texto 11">
            <a:extLst>
              <a:ext uri="{FF2B5EF4-FFF2-40B4-BE49-F238E27FC236}">
                <a16:creationId xmlns:a16="http://schemas.microsoft.com/office/drawing/2014/main" id="{57F86298-EE3F-E041-9C85-E6188E4F90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657392" y="7001366"/>
            <a:ext cx="3553921" cy="1213620"/>
          </a:xfrm>
        </p:spPr>
        <p:txBody>
          <a:bodyPr/>
          <a:lstStyle>
            <a:lvl1pPr algn="ctr">
              <a:spcBef>
                <a:spcPts val="1154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26" name="Marcador de texto 14">
            <a:extLst>
              <a:ext uri="{FF2B5EF4-FFF2-40B4-BE49-F238E27FC236}">
                <a16:creationId xmlns:a16="http://schemas.microsoft.com/office/drawing/2014/main" id="{E83C6E39-64F2-6D47-A27E-18F5BBD664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399608" y="8210197"/>
            <a:ext cx="3562720" cy="821084"/>
          </a:xfr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7" name="Marcador de texto 11">
            <a:extLst>
              <a:ext uri="{FF2B5EF4-FFF2-40B4-BE49-F238E27FC236}">
                <a16:creationId xmlns:a16="http://schemas.microsoft.com/office/drawing/2014/main" id="{892AF2E6-A462-6A4F-8764-EBCA98B4F20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408409" y="7001366"/>
            <a:ext cx="3553921" cy="1213620"/>
          </a:xfrm>
        </p:spPr>
        <p:txBody>
          <a:bodyPr/>
          <a:lstStyle>
            <a:lvl1pPr algn="ctr">
              <a:spcBef>
                <a:spcPts val="1154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err="1"/>
              <a:t>Name</a:t>
            </a:r>
            <a:br>
              <a:rPr lang="es-ES"/>
            </a:br>
            <a:r>
              <a:rPr lang="es-ES" err="1"/>
              <a:t>Surname</a:t>
            </a:r>
            <a:endParaRPr lang="es-ES"/>
          </a:p>
        </p:txBody>
      </p:sp>
      <p:sp>
        <p:nvSpPr>
          <p:cNvPr id="31" name="Marcador de texto 2">
            <a:extLst>
              <a:ext uri="{FF2B5EF4-FFF2-40B4-BE49-F238E27FC236}">
                <a16:creationId xmlns:a16="http://schemas.microsoft.com/office/drawing/2014/main" id="{B64CCC92-63D8-E34A-B1B1-C29FCBDE13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50067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  <p:pic>
        <p:nvPicPr>
          <p:cNvPr id="28" name="Imagen 27" descr="Imagen que contiene dibujo, alimentos, luz&#10;&#10;Descripción generada automáticamente">
            <a:extLst>
              <a:ext uri="{FF2B5EF4-FFF2-40B4-BE49-F238E27FC236}">
                <a16:creationId xmlns:a16="http://schemas.microsoft.com/office/drawing/2014/main" id="{5C4050F3-7835-B246-90A5-1AA4371954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076" y="10626634"/>
            <a:ext cx="2203261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7695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9178" y="1030554"/>
            <a:ext cx="18564159" cy="1313431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9178" y="604676"/>
            <a:ext cx="9362873" cy="327239"/>
          </a:xfrm>
        </p:spPr>
        <p:txBody>
          <a:bodyPr>
            <a:noAutofit/>
          </a:bodyPr>
          <a:lstStyle>
            <a:lvl1pPr marL="0" indent="0">
              <a:buNone/>
              <a:defRPr sz="2144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50761" y="3874499"/>
            <a:ext cx="18402581" cy="6529054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871C8C16-3DD2-2844-8E50-82F8332EAC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8332" y="2685971"/>
            <a:ext cx="18565007" cy="1188529"/>
          </a:xfrm>
        </p:spPr>
        <p:txBody>
          <a:bodyPr/>
          <a:lstStyle>
            <a:lvl1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</a:p>
        </p:txBody>
      </p:sp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53ADC201-6CCF-7040-9003-2487F24AA2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50067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  <p:pic>
        <p:nvPicPr>
          <p:cNvPr id="9" name="Imagen 8" descr="Logotipo&#10;&#10;Descripción generada automáticamente">
            <a:extLst>
              <a:ext uri="{FF2B5EF4-FFF2-40B4-BE49-F238E27FC236}">
                <a16:creationId xmlns:a16="http://schemas.microsoft.com/office/drawing/2014/main" id="{AA7584FB-1A0A-4C4F-BD9F-1F1C9A7E4F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075" y="10626634"/>
            <a:ext cx="2203259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7573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D3B45862-9E43-9940-8549-F0AC9E09F87A}"/>
              </a:ext>
            </a:extLst>
          </p:cNvPr>
          <p:cNvSpPr/>
          <p:nvPr userDrawn="1"/>
        </p:nvSpPr>
        <p:spPr>
          <a:xfrm>
            <a:off x="0" y="4938429"/>
            <a:ext cx="20104100" cy="63709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9178" y="1030554"/>
            <a:ext cx="18564159" cy="1313431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9178" y="604676"/>
            <a:ext cx="9362873" cy="327239"/>
          </a:xfrm>
        </p:spPr>
        <p:txBody>
          <a:bodyPr>
            <a:noAutofit/>
          </a:bodyPr>
          <a:lstStyle>
            <a:lvl1pPr marL="0" indent="0">
              <a:buNone/>
              <a:defRPr sz="2144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50761" y="3874499"/>
            <a:ext cx="18402581" cy="6529054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871C8C16-3DD2-2844-8E50-82F8332EAC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8332" y="2685971"/>
            <a:ext cx="18565007" cy="1188529"/>
          </a:xfrm>
        </p:spPr>
        <p:txBody>
          <a:bodyPr/>
          <a:lstStyle>
            <a:lvl1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</a:p>
        </p:txBody>
      </p:sp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2FF1FDC2-D46E-6C49-A565-EC6FC1D2AF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50067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  <p:pic>
        <p:nvPicPr>
          <p:cNvPr id="10" name="Imagen 9" descr="Imagen que contiene dibujo, alimentos, luz&#10;&#10;Descripción generada automáticamente">
            <a:extLst>
              <a:ext uri="{FF2B5EF4-FFF2-40B4-BE49-F238E27FC236}">
                <a16:creationId xmlns:a16="http://schemas.microsoft.com/office/drawing/2014/main" id="{049863B7-836B-C74D-9C76-E2CDB2140B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076" y="10626634"/>
            <a:ext cx="2203261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4052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822" y="1030554"/>
            <a:ext cx="18568519" cy="1313431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4822" y="604676"/>
            <a:ext cx="18568519" cy="327239"/>
          </a:xfrm>
        </p:spPr>
        <p:txBody>
          <a:bodyPr>
            <a:noAutofit/>
          </a:bodyPr>
          <a:lstStyle>
            <a:lvl1pPr marL="0" indent="0">
              <a:buNone/>
              <a:defRPr sz="2144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7B4CD203-08A3-8A41-91A8-F5F35405D2F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51503" y="2691907"/>
            <a:ext cx="8311266" cy="3557033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6" name="Marcador de contenido 6">
            <a:extLst>
              <a:ext uri="{FF2B5EF4-FFF2-40B4-BE49-F238E27FC236}">
                <a16:creationId xmlns:a16="http://schemas.microsoft.com/office/drawing/2014/main" id="{D3585285-DB0A-D049-AE19-C579B133D4D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65964" y="6389916"/>
            <a:ext cx="8296803" cy="4013639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9457829" y="2695615"/>
            <a:ext cx="9795513" cy="7707940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13" name="Marcador de texto 2">
            <a:extLst>
              <a:ext uri="{FF2B5EF4-FFF2-40B4-BE49-F238E27FC236}">
                <a16:creationId xmlns:a16="http://schemas.microsoft.com/office/drawing/2014/main" id="{680849D7-0063-AC44-AE00-A227F515AD8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50067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  <p:pic>
        <p:nvPicPr>
          <p:cNvPr id="10" name="Imagen 9" descr="Logotipo&#10;&#10;Descripción generada automáticamente">
            <a:extLst>
              <a:ext uri="{FF2B5EF4-FFF2-40B4-BE49-F238E27FC236}">
                <a16:creationId xmlns:a16="http://schemas.microsoft.com/office/drawing/2014/main" id="{29A33FB2-6ED7-E443-85A2-4C1647D4D9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075" y="10626634"/>
            <a:ext cx="2203259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3940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825" y="1030554"/>
            <a:ext cx="6103670" cy="1313431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4825" y="604676"/>
            <a:ext cx="6103670" cy="327239"/>
          </a:xfrm>
        </p:spPr>
        <p:txBody>
          <a:bodyPr>
            <a:noAutofit/>
          </a:bodyPr>
          <a:lstStyle>
            <a:lvl1pPr marL="0" indent="0">
              <a:buNone/>
              <a:defRPr sz="2144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083556" y="604677"/>
            <a:ext cx="12169787" cy="9798879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0219CFF6-032A-B24B-AD2A-9A4901E34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9214" y="2878162"/>
            <a:ext cx="6109282" cy="995381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10" name="Marcador de texto 14">
            <a:extLst>
              <a:ext uri="{FF2B5EF4-FFF2-40B4-BE49-F238E27FC236}">
                <a16:creationId xmlns:a16="http://schemas.microsoft.com/office/drawing/2014/main" id="{3EB82D3A-BC4F-5644-800A-065972C440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9212" y="4059163"/>
            <a:ext cx="6109282" cy="4481854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</a:p>
          <a:p>
            <a:pPr lvl="0"/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9E55FAA0-F851-A34F-A62C-AE1C1C2656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6002268" y="50067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  <p:pic>
        <p:nvPicPr>
          <p:cNvPr id="11" name="Imagen 10" descr="Logotipo&#10;&#10;Descripción generada automáticamente">
            <a:extLst>
              <a:ext uri="{FF2B5EF4-FFF2-40B4-BE49-F238E27FC236}">
                <a16:creationId xmlns:a16="http://schemas.microsoft.com/office/drawing/2014/main" id="{7B8368F1-B389-0B42-807A-3ACF36BB68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075" y="10626634"/>
            <a:ext cx="2203259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7661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822" y="1030554"/>
            <a:ext cx="8493260" cy="1313431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9E67D84B-3C2F-A449-9FF6-0DACB6AD0E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4822" y="604676"/>
            <a:ext cx="8493260" cy="327239"/>
          </a:xfrm>
        </p:spPr>
        <p:txBody>
          <a:bodyPr>
            <a:noAutofit/>
          </a:bodyPr>
          <a:lstStyle>
            <a:lvl1pPr marL="0" indent="0">
              <a:buNone/>
              <a:defRPr sz="2144" b="1" cap="all" baseline="0"/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49451" y="2564072"/>
            <a:ext cx="12468206" cy="7706346"/>
          </a:xfrm>
        </p:spPr>
        <p:txBody>
          <a:bodyPr/>
          <a:lstStyle/>
          <a:p>
            <a:pPr lvl="0"/>
            <a:r>
              <a:rPr lang="es-ES"/>
              <a:t>Objeto</a:t>
            </a:r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0219CFF6-032A-B24B-AD2A-9A4901E34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368434" y="2574216"/>
            <a:ext cx="5886216" cy="995381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10" name="Marcador de texto 14">
            <a:extLst>
              <a:ext uri="{FF2B5EF4-FFF2-40B4-BE49-F238E27FC236}">
                <a16:creationId xmlns:a16="http://schemas.microsoft.com/office/drawing/2014/main" id="{3EB82D3A-BC4F-5644-800A-065972C440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368432" y="3755217"/>
            <a:ext cx="5886216" cy="4481854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</a:p>
          <a:p>
            <a:pPr lvl="0"/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364E4008-824B-7441-B2C4-EB899FC5FED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6002268" y="50067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  <p:pic>
        <p:nvPicPr>
          <p:cNvPr id="11" name="Imagen 10" descr="Logotipo&#10;&#10;Descripción generada automáticamente">
            <a:extLst>
              <a:ext uri="{FF2B5EF4-FFF2-40B4-BE49-F238E27FC236}">
                <a16:creationId xmlns:a16="http://schemas.microsoft.com/office/drawing/2014/main" id="{13D6F7A9-E835-7D46-92FB-C98498CE62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1075" y="10626634"/>
            <a:ext cx="2203259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43954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interior, tabla, azul, par&#10;&#10;Descripción generada automáticamente">
            <a:extLst>
              <a:ext uri="{FF2B5EF4-FFF2-40B4-BE49-F238E27FC236}">
                <a16:creationId xmlns:a16="http://schemas.microsoft.com/office/drawing/2014/main" id="{9D19C828-1AED-424E-BAD2-6B9671D2FD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9737"/>
          <a:stretch/>
        </p:blipFill>
        <p:spPr>
          <a:xfrm>
            <a:off x="3916151" y="0"/>
            <a:ext cx="16187949" cy="11308400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08015A5F-EBBC-4B46-88FC-E35DE4492933}"/>
              </a:ext>
            </a:extLst>
          </p:cNvPr>
          <p:cNvSpPr/>
          <p:nvPr userDrawn="1"/>
        </p:nvSpPr>
        <p:spPr>
          <a:xfrm>
            <a:off x="0" y="0"/>
            <a:ext cx="6226467" cy="11308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ES" sz="263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CDFAA17A-ECDE-431A-921E-32621983E90D}"/>
              </a:ext>
            </a:extLst>
          </p:cNvPr>
          <p:cNvSpPr txBox="1"/>
          <p:nvPr userDrawn="1"/>
        </p:nvSpPr>
        <p:spPr bwMode="auto">
          <a:xfrm>
            <a:off x="18295684" y="197669"/>
            <a:ext cx="1543692" cy="304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>
            <a:spAutoFit/>
          </a:bodyPr>
          <a:lstStyle/>
          <a:p>
            <a:pPr algn="l" eaLnBrk="1" hangingPunct="1"/>
            <a:r>
              <a:rPr lang="es-ES" sz="1979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CONFIDENCIAL</a:t>
            </a:r>
          </a:p>
        </p:txBody>
      </p:sp>
    </p:spTree>
    <p:extLst>
      <p:ext uri="{BB962C8B-B14F-4D97-AF65-F5344CB8AC3E}">
        <p14:creationId xmlns:p14="http://schemas.microsoft.com/office/powerpoint/2010/main" val="2333634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900" b="0" i="1">
                <a:solidFill>
                  <a:srgbClr val="0066FF"/>
                </a:solidFill>
                <a:latin typeface="Palatino Linotype"/>
                <a:cs typeface="Palatino Linotyp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7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illa_Interio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A6D85E4F-93AE-40D3-91FC-5CEA38E042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9378491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A6D85E4F-93AE-40D3-91FC-5CEA38E042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áfico 8">
            <a:extLst>
              <a:ext uri="{FF2B5EF4-FFF2-40B4-BE49-F238E27FC236}">
                <a16:creationId xmlns:a16="http://schemas.microsoft.com/office/drawing/2014/main" id="{24A37FC6-CFAA-AA40-9AEC-EDB5AC61EE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09505" y="686334"/>
            <a:ext cx="3289992" cy="936877"/>
          </a:xfrm>
          <a:prstGeom prst="rect">
            <a:avLst/>
          </a:prstGeom>
        </p:spPr>
      </p:pic>
      <p:pic>
        <p:nvPicPr>
          <p:cNvPr id="7" name="210410 PPT Portadas_Mesa de trabajo copy 42.jpg">
            <a:extLst>
              <a:ext uri="{FF2B5EF4-FFF2-40B4-BE49-F238E27FC236}">
                <a16:creationId xmlns:a16="http://schemas.microsoft.com/office/drawing/2014/main" id="{369DB52E-1EE6-F00E-7BE3-ECA42EEA232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2949"/>
            <a:ext cx="20104100" cy="11309350"/>
          </a:xfrm>
          <a:prstGeom prst="rect">
            <a:avLst/>
          </a:prstGeom>
          <a:ln w="12700">
            <a:miter lim="400000"/>
          </a:ln>
        </p:spPr>
      </p:pic>
      <p:pic>
        <p:nvPicPr>
          <p:cNvPr id="12" name="Gráfico 3">
            <a:extLst>
              <a:ext uri="{FF2B5EF4-FFF2-40B4-BE49-F238E27FC236}">
                <a16:creationId xmlns:a16="http://schemas.microsoft.com/office/drawing/2014/main" id="{27E32BF8-C592-D0DD-9AA9-02AD2D66D90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10628" y="686334"/>
            <a:ext cx="3289992" cy="936877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153D9F08-DC9C-4130-984A-622603700E38}"/>
              </a:ext>
            </a:extLst>
          </p:cNvPr>
          <p:cNvSpPr txBox="1"/>
          <p:nvPr userDrawn="1"/>
        </p:nvSpPr>
        <p:spPr bwMode="auto">
          <a:xfrm>
            <a:off x="18295684" y="197669"/>
            <a:ext cx="1543692" cy="304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>
            <a:spAutoFit/>
          </a:bodyPr>
          <a:lstStyle/>
          <a:p>
            <a:pPr algn="l" eaLnBrk="1" hangingPunct="1"/>
            <a:r>
              <a:rPr lang="es-ES" sz="1979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CONFIDENCIAL</a:t>
            </a:r>
          </a:p>
        </p:txBody>
      </p:sp>
    </p:spTree>
    <p:extLst>
      <p:ext uri="{BB962C8B-B14F-4D97-AF65-F5344CB8AC3E}">
        <p14:creationId xmlns:p14="http://schemas.microsoft.com/office/powerpoint/2010/main" val="3915929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Sin 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o 5">
            <a:extLst>
              <a:ext uri="{FF2B5EF4-FFF2-40B4-BE49-F238E27FC236}">
                <a16:creationId xmlns:a16="http://schemas.microsoft.com/office/drawing/2014/main" id="{9EEB771A-BCAA-49CF-B4F4-B267045AE7C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78882" y="281800"/>
            <a:ext cx="1338455" cy="337684"/>
            <a:chOff x="1055507" y="1075764"/>
            <a:chExt cx="770304" cy="194329"/>
          </a:xfrm>
          <a:solidFill>
            <a:schemeClr val="tx2"/>
          </a:solidFill>
        </p:grpSpPr>
        <p:sp>
          <p:nvSpPr>
            <p:cNvPr id="7" name="Elipse 6">
              <a:extLst>
                <a:ext uri="{FF2B5EF4-FFF2-40B4-BE49-F238E27FC236}">
                  <a16:creationId xmlns:a16="http://schemas.microsoft.com/office/drawing/2014/main" id="{A39FF05E-5A62-4DEE-8B69-C6DB049B7D9D}"/>
                </a:ext>
              </a:extLst>
            </p:cNvPr>
            <p:cNvSpPr/>
            <p:nvPr userDrawn="1"/>
          </p:nvSpPr>
          <p:spPr>
            <a:xfrm>
              <a:off x="1631481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8" name="Elipse 7">
              <a:extLst>
                <a:ext uri="{FF2B5EF4-FFF2-40B4-BE49-F238E27FC236}">
                  <a16:creationId xmlns:a16="http://schemas.microsoft.com/office/drawing/2014/main" id="{21D4AD07-26B8-4ABC-9944-E40996EBB8F4}"/>
                </a:ext>
              </a:extLst>
            </p:cNvPr>
            <p:cNvSpPr/>
            <p:nvPr userDrawn="1"/>
          </p:nvSpPr>
          <p:spPr>
            <a:xfrm>
              <a:off x="1343402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9" name="Elipse 8">
              <a:extLst>
                <a:ext uri="{FF2B5EF4-FFF2-40B4-BE49-F238E27FC236}">
                  <a16:creationId xmlns:a16="http://schemas.microsoft.com/office/drawing/2014/main" id="{00E9A2FA-1DE1-418B-8A37-E728BCE524F7}"/>
                </a:ext>
              </a:extLst>
            </p:cNvPr>
            <p:cNvSpPr/>
            <p:nvPr userDrawn="1"/>
          </p:nvSpPr>
          <p:spPr>
            <a:xfrm>
              <a:off x="1055507" y="1075764"/>
              <a:ext cx="194330" cy="194329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  <p:sp>
        <p:nvSpPr>
          <p:cNvPr id="11" name="Rectangle 3">
            <a:extLst>
              <a:ext uri="{FF2B5EF4-FFF2-40B4-BE49-F238E27FC236}">
                <a16:creationId xmlns:a16="http://schemas.microsoft.com/office/drawing/2014/main" id="{D9F94B94-6F05-448F-B995-6E0D317A69BF}"/>
              </a:ext>
            </a:extLst>
          </p:cNvPr>
          <p:cNvSpPr>
            <a:spLocks/>
          </p:cNvSpPr>
          <p:nvPr userDrawn="1"/>
        </p:nvSpPr>
        <p:spPr bwMode="auto">
          <a:xfrm>
            <a:off x="17596937" y="10741563"/>
            <a:ext cx="370293" cy="253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649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Nº›</a:t>
            </a:fld>
            <a:endParaRPr lang="es-ES_tradnl" altLang="es-ES" sz="1649" b="0" i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65F891F8-AB3C-436C-8BF1-13521B7A1645}"/>
              </a:ext>
            </a:extLst>
          </p:cNvPr>
          <p:cNvCxnSpPr/>
          <p:nvPr userDrawn="1"/>
        </p:nvCxnSpPr>
        <p:spPr>
          <a:xfrm flipV="1">
            <a:off x="18055184" y="10659672"/>
            <a:ext cx="0" cy="41757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áfico 13">
            <a:extLst>
              <a:ext uri="{FF2B5EF4-FFF2-40B4-BE49-F238E27FC236}">
                <a16:creationId xmlns:a16="http://schemas.microsoft.com/office/drawing/2014/main" id="{7C3F928C-5864-4A7E-8EB8-3D880403A2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112386" y="10648338"/>
            <a:ext cx="1580230" cy="440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9965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5445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86" imgH="286" progId="TCLayout.ActiveDocument.1">
                  <p:embed/>
                </p:oleObj>
              </mc:Choice>
              <mc:Fallback>
                <p:oleObj name="Diapositiva de think-cell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3053DFCA-C394-CD48-A34B-7A3A8B8F52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822" y="1030554"/>
            <a:ext cx="8493260" cy="1313431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4" name="Marcador de texto 18">
            <a:extLst>
              <a:ext uri="{FF2B5EF4-FFF2-40B4-BE49-F238E27FC236}">
                <a16:creationId xmlns:a16="http://schemas.microsoft.com/office/drawing/2014/main" id="{58C7B2E6-ED3A-4A47-9913-9BFCFA5E78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4822" y="604676"/>
            <a:ext cx="8493260" cy="327239"/>
          </a:xfrm>
        </p:spPr>
        <p:txBody>
          <a:bodyPr>
            <a:noAutofit/>
          </a:bodyPr>
          <a:lstStyle>
            <a:lvl1pPr marL="0" indent="0">
              <a:buNone/>
              <a:defRPr sz="2144" b="1" cap="all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8" name="Marcador de contenido 6">
            <a:extLst>
              <a:ext uri="{FF2B5EF4-FFF2-40B4-BE49-F238E27FC236}">
                <a16:creationId xmlns:a16="http://schemas.microsoft.com/office/drawing/2014/main" id="{1AEDF02D-D8D9-0047-A619-24D0065C67E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49451" y="2564072"/>
            <a:ext cx="12468206" cy="7706346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s-ES"/>
              <a:t>Objeto</a:t>
            </a:r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0219CFF6-032A-B24B-AD2A-9A4901E34F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368434" y="2574216"/>
            <a:ext cx="5886216" cy="995381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10" name="Marcador de texto 14">
            <a:extLst>
              <a:ext uri="{FF2B5EF4-FFF2-40B4-BE49-F238E27FC236}">
                <a16:creationId xmlns:a16="http://schemas.microsoft.com/office/drawing/2014/main" id="{3EB82D3A-BC4F-5644-800A-065972C440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368432" y="3755217"/>
            <a:ext cx="5886216" cy="4481854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</a:p>
          <a:p>
            <a:pPr lvl="0"/>
            <a:r>
              <a:rPr lang="es-ES"/>
              <a:t>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364E4008-824B-7441-B2C4-EB899FC5FED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6002268" y="50067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00738648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2A8CA54-662C-C9A5-A237-A6B7DDB24F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13013" y="1850860"/>
            <a:ext cx="15078075" cy="3937329"/>
          </a:xfrm>
        </p:spPr>
        <p:txBody>
          <a:bodyPr anchor="b"/>
          <a:lstStyle>
            <a:lvl1pPr algn="ctr">
              <a:defRPr sz="9894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B437C364-CF70-993B-4FFC-8C8B724E4E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3013" y="5940028"/>
            <a:ext cx="15078075" cy="2730474"/>
          </a:xfrm>
        </p:spPr>
        <p:txBody>
          <a:bodyPr/>
          <a:lstStyle>
            <a:lvl1pPr marL="0" indent="0" algn="ctr">
              <a:buNone/>
              <a:defRPr sz="3958"/>
            </a:lvl1pPr>
            <a:lvl2pPr marL="753923" indent="0" algn="ctr">
              <a:buNone/>
              <a:defRPr sz="3298"/>
            </a:lvl2pPr>
            <a:lvl3pPr marL="1507846" indent="0" algn="ctr">
              <a:buNone/>
              <a:defRPr sz="2968"/>
            </a:lvl3pPr>
            <a:lvl4pPr marL="2261768" indent="0" algn="ctr">
              <a:buNone/>
              <a:defRPr sz="2638"/>
            </a:lvl4pPr>
            <a:lvl5pPr marL="3015691" indent="0" algn="ctr">
              <a:buNone/>
              <a:defRPr sz="2638"/>
            </a:lvl5pPr>
            <a:lvl6pPr marL="3769614" indent="0" algn="ctr">
              <a:buNone/>
              <a:defRPr sz="2638"/>
            </a:lvl6pPr>
            <a:lvl7pPr marL="4523537" indent="0" algn="ctr">
              <a:buNone/>
              <a:defRPr sz="2638"/>
            </a:lvl7pPr>
            <a:lvl8pPr marL="5277460" indent="0" algn="ctr">
              <a:buNone/>
              <a:defRPr sz="2638"/>
            </a:lvl8pPr>
            <a:lvl9pPr marL="6031382" indent="0" algn="ctr">
              <a:buNone/>
              <a:defRPr sz="2638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E241F42-13A8-886B-AF2C-BFB031800D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6E2270-E297-4806-9832-1B3ACD304FFD}" type="datetimeFigureOut">
              <a:rPr lang="es-ES" smtClean="0"/>
              <a:t>17/09/2024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4F9D727-EC4F-A472-7494-976329C222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B17FD5A-17BC-D5CE-987F-9217CBAB31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A5333C-DBFA-4C58-85BE-9A84A989BA29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858817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_Nuevo_Patron_20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54F365-6453-428F-BCEF-2E9FA2875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809" y="474945"/>
            <a:ext cx="18455867" cy="13418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s-ES" sz="3298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el estilo de título del patrón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95EBED7D-A643-3CFA-C08E-93BFCE713253}"/>
              </a:ext>
            </a:extLst>
          </p:cNvPr>
          <p:cNvGrpSpPr/>
          <p:nvPr userDrawn="1"/>
        </p:nvGrpSpPr>
        <p:grpSpPr>
          <a:xfrm>
            <a:off x="328425" y="451140"/>
            <a:ext cx="1910935" cy="587730"/>
            <a:chOff x="-1276898" y="1766240"/>
            <a:chExt cx="1053522" cy="324000"/>
          </a:xfrm>
          <a:solidFill>
            <a:schemeClr val="tx2"/>
          </a:solidFill>
        </p:grpSpPr>
        <p:sp>
          <p:nvSpPr>
            <p:cNvPr id="4" name="Elipse 3">
              <a:extLst>
                <a:ext uri="{FF2B5EF4-FFF2-40B4-BE49-F238E27FC236}">
                  <a16:creationId xmlns:a16="http://schemas.microsoft.com/office/drawing/2014/main" id="{4D16BA39-24D0-5216-79E7-B90D3ED279BE}"/>
                </a:ext>
              </a:extLst>
            </p:cNvPr>
            <p:cNvSpPr/>
            <p:nvPr/>
          </p:nvSpPr>
          <p:spPr>
            <a:xfrm>
              <a:off x="-1276898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968" b="0" i="0" u="none" strike="noStrike" kern="1200" cap="none" spc="0" normalizeH="0" baseline="0" noProof="0" err="1">
                <a:ln>
                  <a:noFill/>
                </a:ln>
                <a:solidFill>
                  <a:srgbClr val="58617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" name="Elipse 4">
              <a:extLst>
                <a:ext uri="{FF2B5EF4-FFF2-40B4-BE49-F238E27FC236}">
                  <a16:creationId xmlns:a16="http://schemas.microsoft.com/office/drawing/2014/main" id="{299EEED1-5515-D175-2326-67C96F35ADC6}"/>
                </a:ext>
              </a:extLst>
            </p:cNvPr>
            <p:cNvSpPr/>
            <p:nvPr/>
          </p:nvSpPr>
          <p:spPr>
            <a:xfrm>
              <a:off x="-912137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968" b="0" i="0" u="none" strike="noStrike" kern="1200" cap="none" spc="0" normalizeH="0" baseline="0" noProof="0" err="1">
                <a:ln>
                  <a:noFill/>
                </a:ln>
                <a:solidFill>
                  <a:srgbClr val="58617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" name="Elipse 10">
              <a:extLst>
                <a:ext uri="{FF2B5EF4-FFF2-40B4-BE49-F238E27FC236}">
                  <a16:creationId xmlns:a16="http://schemas.microsoft.com/office/drawing/2014/main" id="{38C0EDAC-9909-1B28-8915-BC3BC9AC5475}"/>
                </a:ext>
              </a:extLst>
            </p:cNvPr>
            <p:cNvSpPr/>
            <p:nvPr/>
          </p:nvSpPr>
          <p:spPr>
            <a:xfrm>
              <a:off x="-547376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968" b="0" i="0" u="none" strike="noStrike" kern="1200" cap="none" spc="0" normalizeH="0" baseline="0" noProof="0" err="1">
                <a:ln>
                  <a:noFill/>
                </a:ln>
                <a:solidFill>
                  <a:srgbClr val="58617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B8469BD0-881A-CEFA-A9C1-1234DFF84B42}"/>
              </a:ext>
            </a:extLst>
          </p:cNvPr>
          <p:cNvCxnSpPr>
            <a:cxnSpLocks/>
          </p:cNvCxnSpPr>
          <p:nvPr userDrawn="1"/>
        </p:nvCxnSpPr>
        <p:spPr>
          <a:xfrm rot="10800000">
            <a:off x="2566053" y="188308"/>
            <a:ext cx="0" cy="111339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3">
            <a:extLst>
              <a:ext uri="{FF2B5EF4-FFF2-40B4-BE49-F238E27FC236}">
                <a16:creationId xmlns:a16="http://schemas.microsoft.com/office/drawing/2014/main" id="{E26F952F-3064-4CCA-B89C-F3B57BDBD933}"/>
              </a:ext>
            </a:extLst>
          </p:cNvPr>
          <p:cNvSpPr>
            <a:spLocks/>
          </p:cNvSpPr>
          <p:nvPr userDrawn="1"/>
        </p:nvSpPr>
        <p:spPr bwMode="auto">
          <a:xfrm>
            <a:off x="17835012" y="10868446"/>
            <a:ext cx="370293" cy="253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649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Nº›</a:t>
            </a:fld>
            <a:endParaRPr lang="es-ES_tradnl" altLang="es-ES" sz="1649" b="0" i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C88A650B-D920-B30C-CC0D-20A32C3A0D13}"/>
              </a:ext>
            </a:extLst>
          </p:cNvPr>
          <p:cNvCxnSpPr/>
          <p:nvPr userDrawn="1"/>
        </p:nvCxnSpPr>
        <p:spPr>
          <a:xfrm flipV="1">
            <a:off x="18293258" y="10786555"/>
            <a:ext cx="0" cy="41757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áfico 7">
            <a:extLst>
              <a:ext uri="{FF2B5EF4-FFF2-40B4-BE49-F238E27FC236}">
                <a16:creationId xmlns:a16="http://schemas.microsoft.com/office/drawing/2014/main" id="{B78C1CC7-CEC5-B928-1E5D-4E3A6E607A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350461" y="10775221"/>
            <a:ext cx="1580230" cy="440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0004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ndo_Blanco_Titular_Azu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13" y="4245735"/>
            <a:ext cx="15653167" cy="2185952"/>
          </a:xfrm>
          <a:noFill/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4035" y="6922505"/>
            <a:ext cx="15623046" cy="1793264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24A37FC6-CFAA-AA40-9AEC-EDB5AC61EE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9505" y="686334"/>
            <a:ext cx="3289992" cy="936877"/>
          </a:xfrm>
          <a:prstGeom prst="rect">
            <a:avLst/>
          </a:prstGeom>
        </p:spPr>
      </p:pic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5E247BFB-65E8-D848-BCEB-FD300C1A40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4035" y="9811908"/>
            <a:ext cx="15653166" cy="596074"/>
          </a:xfrm>
        </p:spPr>
        <p:txBody>
          <a:bodyPr anchor="b">
            <a:normAutofit/>
          </a:bodyPr>
          <a:lstStyle>
            <a:lvl1pPr>
              <a:defRPr sz="2309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err="1"/>
              <a:t>dd</a:t>
            </a:r>
            <a:r>
              <a:rPr lang="es-ES"/>
              <a:t>/mm/</a:t>
            </a:r>
            <a:r>
              <a:rPr lang="es-ES" err="1"/>
              <a:t>aa</a:t>
            </a:r>
            <a:r>
              <a:rPr lang="es-ES"/>
              <a:t> – Nombre de unidad</a:t>
            </a:r>
          </a:p>
        </p:txBody>
      </p:sp>
    </p:spTree>
    <p:extLst>
      <p:ext uri="{BB962C8B-B14F-4D97-AF65-F5344CB8AC3E}">
        <p14:creationId xmlns:p14="http://schemas.microsoft.com/office/powerpoint/2010/main" val="1773793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54F365-6453-428F-BCEF-2E9FA2875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2347" y="74096"/>
            <a:ext cx="12498699" cy="13418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s-ES" sz="329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Haga clic para modificar el estilo de título del patrón</a:t>
            </a: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E2822421-DE89-4518-9420-7EBB166487E2}"/>
              </a:ext>
            </a:extLst>
          </p:cNvPr>
          <p:cNvGrpSpPr/>
          <p:nvPr userDrawn="1"/>
        </p:nvGrpSpPr>
        <p:grpSpPr>
          <a:xfrm>
            <a:off x="328425" y="451140"/>
            <a:ext cx="1910935" cy="587730"/>
            <a:chOff x="-1276898" y="1766240"/>
            <a:chExt cx="1053522" cy="324000"/>
          </a:xfrm>
          <a:solidFill>
            <a:schemeClr val="tx2"/>
          </a:solidFill>
        </p:grpSpPr>
        <p:sp>
          <p:nvSpPr>
            <p:cNvPr id="11" name="Elipse 10">
              <a:extLst>
                <a:ext uri="{FF2B5EF4-FFF2-40B4-BE49-F238E27FC236}">
                  <a16:creationId xmlns:a16="http://schemas.microsoft.com/office/drawing/2014/main" id="{642ECA7C-8EF0-4685-8E0D-5A2A90C4BC63}"/>
                </a:ext>
              </a:extLst>
            </p:cNvPr>
            <p:cNvSpPr/>
            <p:nvPr/>
          </p:nvSpPr>
          <p:spPr>
            <a:xfrm>
              <a:off x="-1276898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9BAED245-D164-4980-ADD3-599ED072DD0E}"/>
                </a:ext>
              </a:extLst>
            </p:cNvPr>
            <p:cNvSpPr/>
            <p:nvPr/>
          </p:nvSpPr>
          <p:spPr>
            <a:xfrm>
              <a:off x="-912137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5F1C9E51-8BBB-4713-9D8D-14E1E317CF4E}"/>
                </a:ext>
              </a:extLst>
            </p:cNvPr>
            <p:cNvSpPr/>
            <p:nvPr/>
          </p:nvSpPr>
          <p:spPr>
            <a:xfrm>
              <a:off x="-547376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63995385-35C1-4622-8E5F-8B72B12DD1BC}"/>
              </a:ext>
            </a:extLst>
          </p:cNvPr>
          <p:cNvCxnSpPr>
            <a:cxnSpLocks/>
          </p:cNvCxnSpPr>
          <p:nvPr userDrawn="1"/>
        </p:nvCxnSpPr>
        <p:spPr>
          <a:xfrm rot="10800000">
            <a:off x="2566053" y="188308"/>
            <a:ext cx="0" cy="111339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3">
            <a:extLst>
              <a:ext uri="{FF2B5EF4-FFF2-40B4-BE49-F238E27FC236}">
                <a16:creationId xmlns:a16="http://schemas.microsoft.com/office/drawing/2014/main" id="{F1DA5E7A-3F4A-4EAF-BE38-3C683F7C4FE9}"/>
              </a:ext>
            </a:extLst>
          </p:cNvPr>
          <p:cNvSpPr>
            <a:spLocks/>
          </p:cNvSpPr>
          <p:nvPr userDrawn="1"/>
        </p:nvSpPr>
        <p:spPr bwMode="auto">
          <a:xfrm>
            <a:off x="17835012" y="10868446"/>
            <a:ext cx="370293" cy="253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649" b="0" i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Nº›</a:t>
            </a:fld>
            <a:endParaRPr lang="es-ES_tradnl" altLang="es-ES" sz="1649" b="0" i="0">
              <a:solidFill>
                <a:schemeClr val="bg1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0B788028-E76D-4AEE-92DF-A2DF227A29FA}"/>
              </a:ext>
            </a:extLst>
          </p:cNvPr>
          <p:cNvCxnSpPr/>
          <p:nvPr userDrawn="1"/>
        </p:nvCxnSpPr>
        <p:spPr>
          <a:xfrm flipV="1">
            <a:off x="18293258" y="10786555"/>
            <a:ext cx="0" cy="41757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3">
            <a:extLst>
              <a:ext uri="{FF2B5EF4-FFF2-40B4-BE49-F238E27FC236}">
                <a16:creationId xmlns:a16="http://schemas.microsoft.com/office/drawing/2014/main" id="{ECAEE248-AF84-8FDD-7DC1-9A7A676A6A6E}"/>
              </a:ext>
            </a:extLst>
          </p:cNvPr>
          <p:cNvSpPr>
            <a:spLocks/>
          </p:cNvSpPr>
          <p:nvPr userDrawn="1"/>
        </p:nvSpPr>
        <p:spPr bwMode="auto">
          <a:xfrm>
            <a:off x="17835012" y="10868446"/>
            <a:ext cx="370293" cy="253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649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Nº›</a:t>
            </a:fld>
            <a:endParaRPr lang="es-ES_tradnl" altLang="es-ES" sz="1649" b="0" i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51B6AA32-CEC7-C5A0-E9AC-1F9253A76918}"/>
              </a:ext>
            </a:extLst>
          </p:cNvPr>
          <p:cNvCxnSpPr/>
          <p:nvPr userDrawn="1"/>
        </p:nvCxnSpPr>
        <p:spPr>
          <a:xfrm flipV="1">
            <a:off x="18293258" y="10786555"/>
            <a:ext cx="0" cy="41757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áfico 4">
            <a:extLst>
              <a:ext uri="{FF2B5EF4-FFF2-40B4-BE49-F238E27FC236}">
                <a16:creationId xmlns:a16="http://schemas.microsoft.com/office/drawing/2014/main" id="{33A25A5B-C051-31A9-7102-7A85585E7B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350461" y="10775221"/>
            <a:ext cx="1580230" cy="440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39342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54F365-6453-428F-BCEF-2E9FA2875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809" y="474945"/>
            <a:ext cx="18455867" cy="13418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s-ES" sz="3298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el estilo de título del patrón</a:t>
            </a: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D49F185A-EA99-44F6-BF6A-4676FFD444B3}"/>
              </a:ext>
            </a:extLst>
          </p:cNvPr>
          <p:cNvSpPr>
            <a:spLocks/>
          </p:cNvSpPr>
          <p:nvPr userDrawn="1"/>
        </p:nvSpPr>
        <p:spPr bwMode="auto">
          <a:xfrm>
            <a:off x="16896883" y="10741563"/>
            <a:ext cx="370293" cy="253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649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Nº›</a:t>
            </a:fld>
            <a:endParaRPr lang="es-ES_tradnl" altLang="es-ES" sz="1649" b="0" i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E58DE4FD-BFF5-43B6-9D8D-756DB2EB38AD}"/>
              </a:ext>
            </a:extLst>
          </p:cNvPr>
          <p:cNvCxnSpPr/>
          <p:nvPr userDrawn="1"/>
        </p:nvCxnSpPr>
        <p:spPr>
          <a:xfrm flipV="1">
            <a:off x="17355130" y="10659672"/>
            <a:ext cx="0" cy="41757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agen 5">
            <a:extLst>
              <a:ext uri="{FF2B5EF4-FFF2-40B4-BE49-F238E27FC236}">
                <a16:creationId xmlns:a16="http://schemas.microsoft.com/office/drawing/2014/main" id="{28048266-8166-4080-9229-EA00EDEA61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2F4FF"/>
              </a:clrFrom>
              <a:clrTo>
                <a:srgbClr val="F2F4FF">
                  <a:alpha val="0"/>
                </a:srgbClr>
              </a:clrTo>
            </a:clrChange>
          </a:blip>
          <a:srcRect r="68980" b="89173"/>
          <a:stretch/>
        </p:blipFill>
        <p:spPr>
          <a:xfrm>
            <a:off x="17137764" y="10497733"/>
            <a:ext cx="3346996" cy="600472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18856995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74822" y="667431"/>
            <a:ext cx="18566122" cy="132081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216AC29C-9883-4B4A-71B0-A040394FF3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062" y="10642937"/>
            <a:ext cx="1662252" cy="333283"/>
          </a:xfrm>
          <a:prstGeom prst="rect">
            <a:avLst/>
          </a:prstGeom>
        </p:spPr>
      </p:pic>
      <p:grpSp>
        <p:nvGrpSpPr>
          <p:cNvPr id="9" name="Grupo 8">
            <a:extLst>
              <a:ext uri="{FF2B5EF4-FFF2-40B4-BE49-F238E27FC236}">
                <a16:creationId xmlns:a16="http://schemas.microsoft.com/office/drawing/2014/main" id="{8E603A28-0B93-D464-7B56-A481C762FEF6}"/>
              </a:ext>
            </a:extLst>
          </p:cNvPr>
          <p:cNvGrpSpPr/>
          <p:nvPr userDrawn="1"/>
        </p:nvGrpSpPr>
        <p:grpSpPr>
          <a:xfrm>
            <a:off x="389712" y="683642"/>
            <a:ext cx="1424700" cy="534300"/>
            <a:chOff x="254869" y="533433"/>
            <a:chExt cx="897981" cy="360000"/>
          </a:xfrm>
        </p:grpSpPr>
        <p:pic>
          <p:nvPicPr>
            <p:cNvPr id="11" name="Gráfico 10">
              <a:extLst>
                <a:ext uri="{FF2B5EF4-FFF2-40B4-BE49-F238E27FC236}">
                  <a16:creationId xmlns:a16="http://schemas.microsoft.com/office/drawing/2014/main" id="{248AD675-FAFD-0C96-86F6-46EDE7A1AE6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49990"/>
            <a:stretch/>
          </p:blipFill>
          <p:spPr>
            <a:xfrm>
              <a:off x="254869" y="533433"/>
              <a:ext cx="897981" cy="360000"/>
            </a:xfrm>
            <a:prstGeom prst="rect">
              <a:avLst/>
            </a:prstGeom>
          </p:spPr>
        </p:pic>
        <p:sp>
          <p:nvSpPr>
            <p:cNvPr id="7" name="Elipse 6">
              <a:extLst>
                <a:ext uri="{FF2B5EF4-FFF2-40B4-BE49-F238E27FC236}">
                  <a16:creationId xmlns:a16="http://schemas.microsoft.com/office/drawing/2014/main" id="{4FDEF708-2578-05CF-84FA-E7498BC3EE4B}"/>
                </a:ext>
              </a:extLst>
            </p:cNvPr>
            <p:cNvSpPr/>
            <p:nvPr userDrawn="1"/>
          </p:nvSpPr>
          <p:spPr>
            <a:xfrm>
              <a:off x="780829" y="573433"/>
              <a:ext cx="286069" cy="280000"/>
            </a:xfrm>
            <a:prstGeom prst="ellipse">
              <a:avLst/>
            </a:prstGeom>
            <a:solidFill>
              <a:srgbClr val="0066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40771921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3958"/>
            <a:ext cx="20093940" cy="2122170"/>
          </a:xfrm>
          <a:custGeom>
            <a:avLst/>
            <a:gdLst/>
            <a:ahLst/>
            <a:cxnLst/>
            <a:rect l="l" t="t" r="r" b="b"/>
            <a:pathLst>
              <a:path w="20093940" h="2122170">
                <a:moveTo>
                  <a:pt x="20093629" y="0"/>
                </a:moveTo>
                <a:lnTo>
                  <a:pt x="0" y="0"/>
                </a:lnTo>
                <a:lnTo>
                  <a:pt x="0" y="2121631"/>
                </a:lnTo>
                <a:lnTo>
                  <a:pt x="20093629" y="2121631"/>
                </a:lnTo>
                <a:lnTo>
                  <a:pt x="20093629" y="0"/>
                </a:lnTo>
                <a:close/>
              </a:path>
            </a:pathLst>
          </a:custGeom>
          <a:solidFill>
            <a:srgbClr val="0066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0" y="4901964"/>
            <a:ext cx="20093940" cy="6407150"/>
          </a:xfrm>
          <a:custGeom>
            <a:avLst/>
            <a:gdLst/>
            <a:ahLst/>
            <a:cxnLst/>
            <a:rect l="l" t="t" r="r" b="b"/>
            <a:pathLst>
              <a:path w="20093940" h="6407150">
                <a:moveTo>
                  <a:pt x="1880755" y="3498443"/>
                </a:moveTo>
                <a:lnTo>
                  <a:pt x="1878380" y="3451491"/>
                </a:lnTo>
                <a:lnTo>
                  <a:pt x="1871395" y="3405886"/>
                </a:lnTo>
                <a:lnTo>
                  <a:pt x="1862861" y="3372751"/>
                </a:lnTo>
                <a:lnTo>
                  <a:pt x="1862861" y="3498443"/>
                </a:lnTo>
                <a:lnTo>
                  <a:pt x="1860321" y="3545395"/>
                </a:lnTo>
                <a:lnTo>
                  <a:pt x="1852650" y="3593134"/>
                </a:lnTo>
                <a:lnTo>
                  <a:pt x="1840280" y="3637991"/>
                </a:lnTo>
                <a:lnTo>
                  <a:pt x="1823453" y="3680815"/>
                </a:lnTo>
                <a:lnTo>
                  <a:pt x="1802422" y="3721341"/>
                </a:lnTo>
                <a:lnTo>
                  <a:pt x="1777466" y="3759289"/>
                </a:lnTo>
                <a:lnTo>
                  <a:pt x="1748853" y="3794404"/>
                </a:lnTo>
                <a:lnTo>
                  <a:pt x="1716849" y="3826408"/>
                </a:lnTo>
                <a:lnTo>
                  <a:pt x="1681746" y="3855021"/>
                </a:lnTo>
                <a:lnTo>
                  <a:pt x="1643786" y="3879977"/>
                </a:lnTo>
                <a:lnTo>
                  <a:pt x="1603260" y="3901008"/>
                </a:lnTo>
                <a:lnTo>
                  <a:pt x="1560436" y="3917835"/>
                </a:lnTo>
                <a:lnTo>
                  <a:pt x="1515579" y="3930192"/>
                </a:lnTo>
                <a:lnTo>
                  <a:pt x="1468983" y="3937800"/>
                </a:lnTo>
                <a:lnTo>
                  <a:pt x="1420888" y="3940403"/>
                </a:lnTo>
                <a:lnTo>
                  <a:pt x="1372806" y="3937800"/>
                </a:lnTo>
                <a:lnTo>
                  <a:pt x="1326197" y="3930192"/>
                </a:lnTo>
                <a:lnTo>
                  <a:pt x="1281341" y="3917835"/>
                </a:lnTo>
                <a:lnTo>
                  <a:pt x="1238516" y="3901008"/>
                </a:lnTo>
                <a:lnTo>
                  <a:pt x="1197991" y="3879977"/>
                </a:lnTo>
                <a:lnTo>
                  <a:pt x="1160043" y="3855021"/>
                </a:lnTo>
                <a:lnTo>
                  <a:pt x="1124927" y="3826408"/>
                </a:lnTo>
                <a:lnTo>
                  <a:pt x="1092923" y="3794404"/>
                </a:lnTo>
                <a:lnTo>
                  <a:pt x="1064310" y="3759289"/>
                </a:lnTo>
                <a:lnTo>
                  <a:pt x="1039355" y="3721341"/>
                </a:lnTo>
                <a:lnTo>
                  <a:pt x="1018324" y="3680815"/>
                </a:lnTo>
                <a:lnTo>
                  <a:pt x="1001496" y="3637991"/>
                </a:lnTo>
                <a:lnTo>
                  <a:pt x="989139" y="3593134"/>
                </a:lnTo>
                <a:lnTo>
                  <a:pt x="981519" y="3546538"/>
                </a:lnTo>
                <a:lnTo>
                  <a:pt x="978928" y="3498443"/>
                </a:lnTo>
                <a:lnTo>
                  <a:pt x="981456" y="3451491"/>
                </a:lnTo>
                <a:lnTo>
                  <a:pt x="989139" y="3403752"/>
                </a:lnTo>
                <a:lnTo>
                  <a:pt x="1001496" y="3358908"/>
                </a:lnTo>
                <a:lnTo>
                  <a:pt x="1018324" y="3316084"/>
                </a:lnTo>
                <a:lnTo>
                  <a:pt x="1039355" y="3275558"/>
                </a:lnTo>
                <a:lnTo>
                  <a:pt x="1064310" y="3237598"/>
                </a:lnTo>
                <a:lnTo>
                  <a:pt x="1092923" y="3202482"/>
                </a:lnTo>
                <a:lnTo>
                  <a:pt x="1124927" y="3170478"/>
                </a:lnTo>
                <a:lnTo>
                  <a:pt x="1160043" y="3141865"/>
                </a:lnTo>
                <a:lnTo>
                  <a:pt x="1197991" y="3116910"/>
                </a:lnTo>
                <a:lnTo>
                  <a:pt x="1238516" y="3095879"/>
                </a:lnTo>
                <a:lnTo>
                  <a:pt x="1281341" y="3079051"/>
                </a:lnTo>
                <a:lnTo>
                  <a:pt x="1326197" y="3066694"/>
                </a:lnTo>
                <a:lnTo>
                  <a:pt x="1372806" y="3059087"/>
                </a:lnTo>
                <a:lnTo>
                  <a:pt x="1420888" y="3056483"/>
                </a:lnTo>
                <a:lnTo>
                  <a:pt x="1468983" y="3059087"/>
                </a:lnTo>
                <a:lnTo>
                  <a:pt x="1515579" y="3066694"/>
                </a:lnTo>
                <a:lnTo>
                  <a:pt x="1560436" y="3079051"/>
                </a:lnTo>
                <a:lnTo>
                  <a:pt x="1603260" y="3095879"/>
                </a:lnTo>
                <a:lnTo>
                  <a:pt x="1643786" y="3116910"/>
                </a:lnTo>
                <a:lnTo>
                  <a:pt x="1681746" y="3141865"/>
                </a:lnTo>
                <a:lnTo>
                  <a:pt x="1716849" y="3170478"/>
                </a:lnTo>
                <a:lnTo>
                  <a:pt x="1748853" y="3202482"/>
                </a:lnTo>
                <a:lnTo>
                  <a:pt x="1777466" y="3237598"/>
                </a:lnTo>
                <a:lnTo>
                  <a:pt x="1802422" y="3275558"/>
                </a:lnTo>
                <a:lnTo>
                  <a:pt x="1823453" y="3316084"/>
                </a:lnTo>
                <a:lnTo>
                  <a:pt x="1840280" y="3358908"/>
                </a:lnTo>
                <a:lnTo>
                  <a:pt x="1852650" y="3403752"/>
                </a:lnTo>
                <a:lnTo>
                  <a:pt x="1860257" y="3450361"/>
                </a:lnTo>
                <a:lnTo>
                  <a:pt x="1862861" y="3498443"/>
                </a:lnTo>
                <a:lnTo>
                  <a:pt x="1862861" y="3372751"/>
                </a:lnTo>
                <a:lnTo>
                  <a:pt x="1844560" y="3319615"/>
                </a:lnTo>
                <a:lnTo>
                  <a:pt x="1825180" y="3279432"/>
                </a:lnTo>
                <a:lnTo>
                  <a:pt x="1802117" y="3241510"/>
                </a:lnTo>
                <a:lnTo>
                  <a:pt x="1775612" y="3206102"/>
                </a:lnTo>
                <a:lnTo>
                  <a:pt x="1745919" y="3173425"/>
                </a:lnTo>
                <a:lnTo>
                  <a:pt x="1713242" y="3143720"/>
                </a:lnTo>
                <a:lnTo>
                  <a:pt x="1677835" y="3117227"/>
                </a:lnTo>
                <a:lnTo>
                  <a:pt x="1639912" y="3094164"/>
                </a:lnTo>
                <a:lnTo>
                  <a:pt x="1599717" y="3074771"/>
                </a:lnTo>
                <a:lnTo>
                  <a:pt x="1557489" y="3059290"/>
                </a:lnTo>
                <a:lnTo>
                  <a:pt x="1513459" y="3047936"/>
                </a:lnTo>
                <a:lnTo>
                  <a:pt x="1467840" y="3040951"/>
                </a:lnTo>
                <a:lnTo>
                  <a:pt x="1420888" y="3038576"/>
                </a:lnTo>
                <a:lnTo>
                  <a:pt x="1373936" y="3040951"/>
                </a:lnTo>
                <a:lnTo>
                  <a:pt x="1328331" y="3047936"/>
                </a:lnTo>
                <a:lnTo>
                  <a:pt x="1284287" y="3059290"/>
                </a:lnTo>
                <a:lnTo>
                  <a:pt x="1242060" y="3074771"/>
                </a:lnTo>
                <a:lnTo>
                  <a:pt x="1201864" y="3094164"/>
                </a:lnTo>
                <a:lnTo>
                  <a:pt x="1163955" y="3117227"/>
                </a:lnTo>
                <a:lnTo>
                  <a:pt x="1128534" y="3143720"/>
                </a:lnTo>
                <a:lnTo>
                  <a:pt x="1095870" y="3173425"/>
                </a:lnTo>
                <a:lnTo>
                  <a:pt x="1066165" y="3206102"/>
                </a:lnTo>
                <a:lnTo>
                  <a:pt x="1039660" y="3241510"/>
                </a:lnTo>
                <a:lnTo>
                  <a:pt x="1016609" y="3279432"/>
                </a:lnTo>
                <a:lnTo>
                  <a:pt x="997216" y="3319615"/>
                </a:lnTo>
                <a:lnTo>
                  <a:pt x="981735" y="3361842"/>
                </a:lnTo>
                <a:lnTo>
                  <a:pt x="970381" y="3405886"/>
                </a:lnTo>
                <a:lnTo>
                  <a:pt x="963396" y="3451491"/>
                </a:lnTo>
                <a:lnTo>
                  <a:pt x="961021" y="3498443"/>
                </a:lnTo>
                <a:lnTo>
                  <a:pt x="963396" y="3545395"/>
                </a:lnTo>
                <a:lnTo>
                  <a:pt x="970381" y="3591014"/>
                </a:lnTo>
                <a:lnTo>
                  <a:pt x="981735" y="3635044"/>
                </a:lnTo>
                <a:lnTo>
                  <a:pt x="997216" y="3677272"/>
                </a:lnTo>
                <a:lnTo>
                  <a:pt x="1016609" y="3717467"/>
                </a:lnTo>
                <a:lnTo>
                  <a:pt x="1039660" y="3755377"/>
                </a:lnTo>
                <a:lnTo>
                  <a:pt x="1066165" y="3790797"/>
                </a:lnTo>
                <a:lnTo>
                  <a:pt x="1095870" y="3823462"/>
                </a:lnTo>
                <a:lnTo>
                  <a:pt x="1128534" y="3853167"/>
                </a:lnTo>
                <a:lnTo>
                  <a:pt x="1163955" y="3879659"/>
                </a:lnTo>
                <a:lnTo>
                  <a:pt x="1201864" y="3902722"/>
                </a:lnTo>
                <a:lnTo>
                  <a:pt x="1242060" y="3922115"/>
                </a:lnTo>
                <a:lnTo>
                  <a:pt x="1284287" y="3937597"/>
                </a:lnTo>
                <a:lnTo>
                  <a:pt x="1328331" y="3948950"/>
                </a:lnTo>
                <a:lnTo>
                  <a:pt x="1373936" y="3955935"/>
                </a:lnTo>
                <a:lnTo>
                  <a:pt x="1420888" y="3958310"/>
                </a:lnTo>
                <a:lnTo>
                  <a:pt x="1467840" y="3955935"/>
                </a:lnTo>
                <a:lnTo>
                  <a:pt x="1513459" y="3948950"/>
                </a:lnTo>
                <a:lnTo>
                  <a:pt x="1557489" y="3937597"/>
                </a:lnTo>
                <a:lnTo>
                  <a:pt x="1599717" y="3922115"/>
                </a:lnTo>
                <a:lnTo>
                  <a:pt x="1639912" y="3902722"/>
                </a:lnTo>
                <a:lnTo>
                  <a:pt x="1677835" y="3879659"/>
                </a:lnTo>
                <a:lnTo>
                  <a:pt x="1713242" y="3853167"/>
                </a:lnTo>
                <a:lnTo>
                  <a:pt x="1745919" y="3823462"/>
                </a:lnTo>
                <a:lnTo>
                  <a:pt x="1775612" y="3790797"/>
                </a:lnTo>
                <a:lnTo>
                  <a:pt x="1802117" y="3755377"/>
                </a:lnTo>
                <a:lnTo>
                  <a:pt x="1825180" y="3717467"/>
                </a:lnTo>
                <a:lnTo>
                  <a:pt x="1844560" y="3677272"/>
                </a:lnTo>
                <a:lnTo>
                  <a:pt x="1860054" y="3635044"/>
                </a:lnTo>
                <a:lnTo>
                  <a:pt x="1871395" y="3591014"/>
                </a:lnTo>
                <a:lnTo>
                  <a:pt x="1878380" y="3545395"/>
                </a:lnTo>
                <a:lnTo>
                  <a:pt x="1880755" y="3498443"/>
                </a:lnTo>
                <a:close/>
              </a:path>
              <a:path w="20093940" h="6407150">
                <a:moveTo>
                  <a:pt x="4806226" y="1511300"/>
                </a:moveTo>
                <a:lnTo>
                  <a:pt x="4805477" y="1473200"/>
                </a:lnTo>
                <a:lnTo>
                  <a:pt x="4803254" y="1422400"/>
                </a:lnTo>
                <a:lnTo>
                  <a:pt x="4799558" y="1371600"/>
                </a:lnTo>
                <a:lnTo>
                  <a:pt x="4794428" y="1320800"/>
                </a:lnTo>
                <a:lnTo>
                  <a:pt x="4787874" y="1282700"/>
                </a:lnTo>
                <a:lnTo>
                  <a:pt x="4779937" y="1231900"/>
                </a:lnTo>
                <a:lnTo>
                  <a:pt x="4770615" y="1193800"/>
                </a:lnTo>
                <a:lnTo>
                  <a:pt x="4759947" y="1143000"/>
                </a:lnTo>
                <a:lnTo>
                  <a:pt x="4747958" y="1104900"/>
                </a:lnTo>
                <a:lnTo>
                  <a:pt x="4747336" y="1102525"/>
                </a:lnTo>
                <a:lnTo>
                  <a:pt x="4747336" y="1511300"/>
                </a:lnTo>
                <a:lnTo>
                  <a:pt x="4746561" y="1562100"/>
                </a:lnTo>
                <a:lnTo>
                  <a:pt x="4744237" y="1612900"/>
                </a:lnTo>
                <a:lnTo>
                  <a:pt x="4740402" y="1663700"/>
                </a:lnTo>
                <a:lnTo>
                  <a:pt x="4735080" y="1701800"/>
                </a:lnTo>
                <a:lnTo>
                  <a:pt x="4728286" y="1752600"/>
                </a:lnTo>
                <a:lnTo>
                  <a:pt x="4720044" y="1803400"/>
                </a:lnTo>
                <a:lnTo>
                  <a:pt x="4710379" y="1841500"/>
                </a:lnTo>
                <a:lnTo>
                  <a:pt x="4699317" y="1892300"/>
                </a:lnTo>
                <a:lnTo>
                  <a:pt x="4686884" y="1930400"/>
                </a:lnTo>
                <a:lnTo>
                  <a:pt x="4673104" y="1981200"/>
                </a:lnTo>
                <a:lnTo>
                  <a:pt x="4658004" y="2019300"/>
                </a:lnTo>
                <a:lnTo>
                  <a:pt x="4641596" y="2057400"/>
                </a:lnTo>
                <a:lnTo>
                  <a:pt x="4623917" y="2108200"/>
                </a:lnTo>
                <a:lnTo>
                  <a:pt x="4604994" y="2146300"/>
                </a:lnTo>
                <a:lnTo>
                  <a:pt x="4584839" y="2184400"/>
                </a:lnTo>
                <a:lnTo>
                  <a:pt x="4563478" y="2222500"/>
                </a:lnTo>
                <a:lnTo>
                  <a:pt x="4540936" y="2260600"/>
                </a:lnTo>
                <a:lnTo>
                  <a:pt x="4517250" y="2298700"/>
                </a:lnTo>
                <a:lnTo>
                  <a:pt x="4492422" y="2336800"/>
                </a:lnTo>
                <a:lnTo>
                  <a:pt x="4466488" y="2374900"/>
                </a:lnTo>
                <a:lnTo>
                  <a:pt x="4439475" y="2413000"/>
                </a:lnTo>
                <a:lnTo>
                  <a:pt x="4411408" y="2451100"/>
                </a:lnTo>
                <a:lnTo>
                  <a:pt x="4382300" y="2476500"/>
                </a:lnTo>
                <a:lnTo>
                  <a:pt x="4352175" y="2514600"/>
                </a:lnTo>
                <a:lnTo>
                  <a:pt x="4321073" y="2540000"/>
                </a:lnTo>
                <a:lnTo>
                  <a:pt x="4289006" y="2578100"/>
                </a:lnTo>
                <a:lnTo>
                  <a:pt x="4256011" y="2603500"/>
                </a:lnTo>
                <a:lnTo>
                  <a:pt x="4222089" y="2628900"/>
                </a:lnTo>
                <a:lnTo>
                  <a:pt x="4187291" y="2667000"/>
                </a:lnTo>
                <a:lnTo>
                  <a:pt x="4151617" y="2692400"/>
                </a:lnTo>
                <a:lnTo>
                  <a:pt x="4115104" y="2717800"/>
                </a:lnTo>
                <a:lnTo>
                  <a:pt x="4077779" y="2743200"/>
                </a:lnTo>
                <a:lnTo>
                  <a:pt x="4039654" y="2768600"/>
                </a:lnTo>
                <a:lnTo>
                  <a:pt x="4000766" y="2781300"/>
                </a:lnTo>
                <a:lnTo>
                  <a:pt x="3961130" y="2806700"/>
                </a:lnTo>
                <a:lnTo>
                  <a:pt x="3920769" y="2832100"/>
                </a:lnTo>
                <a:lnTo>
                  <a:pt x="3879723" y="2844800"/>
                </a:lnTo>
                <a:lnTo>
                  <a:pt x="3837990" y="2870200"/>
                </a:lnTo>
                <a:lnTo>
                  <a:pt x="3795623" y="2882900"/>
                </a:lnTo>
                <a:lnTo>
                  <a:pt x="3574872" y="2946400"/>
                </a:lnTo>
                <a:lnTo>
                  <a:pt x="3529126" y="2946400"/>
                </a:lnTo>
                <a:lnTo>
                  <a:pt x="3482886" y="2959100"/>
                </a:lnTo>
                <a:lnTo>
                  <a:pt x="3436201" y="2959100"/>
                </a:lnTo>
                <a:lnTo>
                  <a:pt x="3389071" y="2971800"/>
                </a:lnTo>
                <a:lnTo>
                  <a:pt x="3198203" y="2971800"/>
                </a:lnTo>
                <a:lnTo>
                  <a:pt x="3151073" y="2959100"/>
                </a:lnTo>
                <a:lnTo>
                  <a:pt x="3104388" y="2959100"/>
                </a:lnTo>
                <a:lnTo>
                  <a:pt x="3058147" y="2946400"/>
                </a:lnTo>
                <a:lnTo>
                  <a:pt x="3012402" y="2946400"/>
                </a:lnTo>
                <a:lnTo>
                  <a:pt x="2791650" y="2882900"/>
                </a:lnTo>
                <a:lnTo>
                  <a:pt x="2749283" y="2870200"/>
                </a:lnTo>
                <a:lnTo>
                  <a:pt x="2707551" y="2844800"/>
                </a:lnTo>
                <a:lnTo>
                  <a:pt x="2666504" y="2832100"/>
                </a:lnTo>
                <a:lnTo>
                  <a:pt x="2626144" y="2806700"/>
                </a:lnTo>
                <a:lnTo>
                  <a:pt x="2586507" y="2781300"/>
                </a:lnTo>
                <a:lnTo>
                  <a:pt x="2547620" y="2768600"/>
                </a:lnTo>
                <a:lnTo>
                  <a:pt x="2509494" y="2743200"/>
                </a:lnTo>
                <a:lnTo>
                  <a:pt x="2472169" y="2717800"/>
                </a:lnTo>
                <a:lnTo>
                  <a:pt x="2435656" y="2692400"/>
                </a:lnTo>
                <a:lnTo>
                  <a:pt x="2399982" y="2667000"/>
                </a:lnTo>
                <a:lnTo>
                  <a:pt x="2365184" y="2628900"/>
                </a:lnTo>
                <a:lnTo>
                  <a:pt x="2331262" y="2603500"/>
                </a:lnTo>
                <a:lnTo>
                  <a:pt x="2298255" y="2578100"/>
                </a:lnTo>
                <a:lnTo>
                  <a:pt x="2266200" y="2540000"/>
                </a:lnTo>
                <a:lnTo>
                  <a:pt x="2235098" y="2514600"/>
                </a:lnTo>
                <a:lnTo>
                  <a:pt x="2204974" y="2476500"/>
                </a:lnTo>
                <a:lnTo>
                  <a:pt x="2175865" y="2451100"/>
                </a:lnTo>
                <a:lnTo>
                  <a:pt x="2147798" y="2413000"/>
                </a:lnTo>
                <a:lnTo>
                  <a:pt x="2120785" y="2374900"/>
                </a:lnTo>
                <a:lnTo>
                  <a:pt x="2094852" y="2336800"/>
                </a:lnTo>
                <a:lnTo>
                  <a:pt x="2070023" y="2298700"/>
                </a:lnTo>
                <a:lnTo>
                  <a:pt x="2046338" y="2260600"/>
                </a:lnTo>
                <a:lnTo>
                  <a:pt x="2023795" y="2222500"/>
                </a:lnTo>
                <a:lnTo>
                  <a:pt x="2002434" y="2184400"/>
                </a:lnTo>
                <a:lnTo>
                  <a:pt x="1982279" y="2146300"/>
                </a:lnTo>
                <a:lnTo>
                  <a:pt x="1963356" y="2108200"/>
                </a:lnTo>
                <a:lnTo>
                  <a:pt x="1945678" y="2057400"/>
                </a:lnTo>
                <a:lnTo>
                  <a:pt x="1929269" y="2019300"/>
                </a:lnTo>
                <a:lnTo>
                  <a:pt x="1914169" y="1981200"/>
                </a:lnTo>
                <a:lnTo>
                  <a:pt x="1900389" y="1930400"/>
                </a:lnTo>
                <a:lnTo>
                  <a:pt x="1887956" y="1892300"/>
                </a:lnTo>
                <a:lnTo>
                  <a:pt x="1876894" y="1841500"/>
                </a:lnTo>
                <a:lnTo>
                  <a:pt x="1867230" y="1803400"/>
                </a:lnTo>
                <a:lnTo>
                  <a:pt x="1858987" y="1752600"/>
                </a:lnTo>
                <a:lnTo>
                  <a:pt x="1852193" y="1701800"/>
                </a:lnTo>
                <a:lnTo>
                  <a:pt x="1846872" y="1663700"/>
                </a:lnTo>
                <a:lnTo>
                  <a:pt x="1843036" y="1612900"/>
                </a:lnTo>
                <a:lnTo>
                  <a:pt x="1840712" y="1562100"/>
                </a:lnTo>
                <a:lnTo>
                  <a:pt x="1839937" y="1511300"/>
                </a:lnTo>
                <a:lnTo>
                  <a:pt x="1840712" y="1473200"/>
                </a:lnTo>
                <a:lnTo>
                  <a:pt x="1843036" y="1422400"/>
                </a:lnTo>
                <a:lnTo>
                  <a:pt x="1846872" y="1371600"/>
                </a:lnTo>
                <a:lnTo>
                  <a:pt x="1852193" y="1320800"/>
                </a:lnTo>
                <a:lnTo>
                  <a:pt x="1858987" y="1282700"/>
                </a:lnTo>
                <a:lnTo>
                  <a:pt x="1867230" y="1231900"/>
                </a:lnTo>
                <a:lnTo>
                  <a:pt x="1876894" y="1193800"/>
                </a:lnTo>
                <a:lnTo>
                  <a:pt x="1887956" y="1143000"/>
                </a:lnTo>
                <a:lnTo>
                  <a:pt x="1900389" y="1104900"/>
                </a:lnTo>
                <a:lnTo>
                  <a:pt x="1914169" y="1054100"/>
                </a:lnTo>
                <a:lnTo>
                  <a:pt x="1929269" y="1016000"/>
                </a:lnTo>
                <a:lnTo>
                  <a:pt x="1945678" y="977900"/>
                </a:lnTo>
                <a:lnTo>
                  <a:pt x="1963356" y="927100"/>
                </a:lnTo>
                <a:lnTo>
                  <a:pt x="1982279" y="889000"/>
                </a:lnTo>
                <a:lnTo>
                  <a:pt x="2002434" y="850900"/>
                </a:lnTo>
                <a:lnTo>
                  <a:pt x="2023795" y="812800"/>
                </a:lnTo>
                <a:lnTo>
                  <a:pt x="2046338" y="774700"/>
                </a:lnTo>
                <a:lnTo>
                  <a:pt x="2070023" y="736600"/>
                </a:lnTo>
                <a:lnTo>
                  <a:pt x="2094852" y="698500"/>
                </a:lnTo>
                <a:lnTo>
                  <a:pt x="2120785" y="660400"/>
                </a:lnTo>
                <a:lnTo>
                  <a:pt x="2147798" y="622300"/>
                </a:lnTo>
                <a:lnTo>
                  <a:pt x="2175865" y="584200"/>
                </a:lnTo>
                <a:lnTo>
                  <a:pt x="2204974" y="558800"/>
                </a:lnTo>
                <a:lnTo>
                  <a:pt x="2235098" y="520700"/>
                </a:lnTo>
                <a:lnTo>
                  <a:pt x="2266200" y="482600"/>
                </a:lnTo>
                <a:lnTo>
                  <a:pt x="2298255" y="457200"/>
                </a:lnTo>
                <a:lnTo>
                  <a:pt x="2331262" y="431800"/>
                </a:lnTo>
                <a:lnTo>
                  <a:pt x="2365184" y="393700"/>
                </a:lnTo>
                <a:lnTo>
                  <a:pt x="2399982" y="368300"/>
                </a:lnTo>
                <a:lnTo>
                  <a:pt x="2435656" y="342900"/>
                </a:lnTo>
                <a:lnTo>
                  <a:pt x="2472169" y="317500"/>
                </a:lnTo>
                <a:lnTo>
                  <a:pt x="2509494" y="292100"/>
                </a:lnTo>
                <a:lnTo>
                  <a:pt x="2547620" y="266700"/>
                </a:lnTo>
                <a:lnTo>
                  <a:pt x="2586507" y="241300"/>
                </a:lnTo>
                <a:lnTo>
                  <a:pt x="2626144" y="228600"/>
                </a:lnTo>
                <a:lnTo>
                  <a:pt x="2666504" y="203200"/>
                </a:lnTo>
                <a:lnTo>
                  <a:pt x="2707551" y="190500"/>
                </a:lnTo>
                <a:lnTo>
                  <a:pt x="2749283" y="165100"/>
                </a:lnTo>
                <a:lnTo>
                  <a:pt x="2967139" y="101600"/>
                </a:lnTo>
                <a:lnTo>
                  <a:pt x="3058147" y="76200"/>
                </a:lnTo>
                <a:lnTo>
                  <a:pt x="3104388" y="76200"/>
                </a:lnTo>
                <a:lnTo>
                  <a:pt x="3151073" y="63500"/>
                </a:lnTo>
                <a:lnTo>
                  <a:pt x="3436201" y="63500"/>
                </a:lnTo>
                <a:lnTo>
                  <a:pt x="3482886" y="76200"/>
                </a:lnTo>
                <a:lnTo>
                  <a:pt x="3529126" y="76200"/>
                </a:lnTo>
                <a:lnTo>
                  <a:pt x="3620135" y="101600"/>
                </a:lnTo>
                <a:lnTo>
                  <a:pt x="3837990" y="165100"/>
                </a:lnTo>
                <a:lnTo>
                  <a:pt x="3879723" y="190500"/>
                </a:lnTo>
                <a:lnTo>
                  <a:pt x="3920769" y="203200"/>
                </a:lnTo>
                <a:lnTo>
                  <a:pt x="3961130" y="228600"/>
                </a:lnTo>
                <a:lnTo>
                  <a:pt x="4000766" y="241300"/>
                </a:lnTo>
                <a:lnTo>
                  <a:pt x="4039654" y="266700"/>
                </a:lnTo>
                <a:lnTo>
                  <a:pt x="4077779" y="292100"/>
                </a:lnTo>
                <a:lnTo>
                  <a:pt x="4115104" y="317500"/>
                </a:lnTo>
                <a:lnTo>
                  <a:pt x="4151617" y="342900"/>
                </a:lnTo>
                <a:lnTo>
                  <a:pt x="4187291" y="368300"/>
                </a:lnTo>
                <a:lnTo>
                  <a:pt x="4222089" y="393700"/>
                </a:lnTo>
                <a:lnTo>
                  <a:pt x="4256011" y="431800"/>
                </a:lnTo>
                <a:lnTo>
                  <a:pt x="4289006" y="457200"/>
                </a:lnTo>
                <a:lnTo>
                  <a:pt x="4321073" y="482600"/>
                </a:lnTo>
                <a:lnTo>
                  <a:pt x="4352175" y="520700"/>
                </a:lnTo>
                <a:lnTo>
                  <a:pt x="4382300" y="558800"/>
                </a:lnTo>
                <a:lnTo>
                  <a:pt x="4411408" y="584200"/>
                </a:lnTo>
                <a:lnTo>
                  <a:pt x="4439475" y="622300"/>
                </a:lnTo>
                <a:lnTo>
                  <a:pt x="4466488" y="660400"/>
                </a:lnTo>
                <a:lnTo>
                  <a:pt x="4492422" y="698500"/>
                </a:lnTo>
                <a:lnTo>
                  <a:pt x="4517250" y="736600"/>
                </a:lnTo>
                <a:lnTo>
                  <a:pt x="4540936" y="774700"/>
                </a:lnTo>
                <a:lnTo>
                  <a:pt x="4563478" y="812800"/>
                </a:lnTo>
                <a:lnTo>
                  <a:pt x="4584839" y="850900"/>
                </a:lnTo>
                <a:lnTo>
                  <a:pt x="4604994" y="889000"/>
                </a:lnTo>
                <a:lnTo>
                  <a:pt x="4623917" y="927100"/>
                </a:lnTo>
                <a:lnTo>
                  <a:pt x="4641596" y="977900"/>
                </a:lnTo>
                <a:lnTo>
                  <a:pt x="4658004" y="1016000"/>
                </a:lnTo>
                <a:lnTo>
                  <a:pt x="4673104" y="1054100"/>
                </a:lnTo>
                <a:lnTo>
                  <a:pt x="4686884" y="1104900"/>
                </a:lnTo>
                <a:lnTo>
                  <a:pt x="4699317" y="1143000"/>
                </a:lnTo>
                <a:lnTo>
                  <a:pt x="4710379" y="1193800"/>
                </a:lnTo>
                <a:lnTo>
                  <a:pt x="4720044" y="1231900"/>
                </a:lnTo>
                <a:lnTo>
                  <a:pt x="4728286" y="1282700"/>
                </a:lnTo>
                <a:lnTo>
                  <a:pt x="4735080" y="1320800"/>
                </a:lnTo>
                <a:lnTo>
                  <a:pt x="4740402" y="1371600"/>
                </a:lnTo>
                <a:lnTo>
                  <a:pt x="4744237" y="1422400"/>
                </a:lnTo>
                <a:lnTo>
                  <a:pt x="4746561" y="1473200"/>
                </a:lnTo>
                <a:lnTo>
                  <a:pt x="4747336" y="1511300"/>
                </a:lnTo>
                <a:lnTo>
                  <a:pt x="4747336" y="1102525"/>
                </a:lnTo>
                <a:lnTo>
                  <a:pt x="4734661" y="1054100"/>
                </a:lnTo>
                <a:lnTo>
                  <a:pt x="4720082" y="1016000"/>
                </a:lnTo>
                <a:lnTo>
                  <a:pt x="4704245" y="965200"/>
                </a:lnTo>
                <a:lnTo>
                  <a:pt x="4687176" y="927100"/>
                </a:lnTo>
                <a:lnTo>
                  <a:pt x="4668875" y="889000"/>
                </a:lnTo>
                <a:lnTo>
                  <a:pt x="4649394" y="850900"/>
                </a:lnTo>
                <a:lnTo>
                  <a:pt x="4628743" y="800100"/>
                </a:lnTo>
                <a:lnTo>
                  <a:pt x="4606937" y="762000"/>
                </a:lnTo>
                <a:lnTo>
                  <a:pt x="4584001" y="723900"/>
                </a:lnTo>
                <a:lnTo>
                  <a:pt x="4559973" y="685800"/>
                </a:lnTo>
                <a:lnTo>
                  <a:pt x="4534852" y="647700"/>
                </a:lnTo>
                <a:lnTo>
                  <a:pt x="4508678" y="622300"/>
                </a:lnTo>
                <a:lnTo>
                  <a:pt x="4481474" y="584200"/>
                </a:lnTo>
                <a:lnTo>
                  <a:pt x="4453242" y="546100"/>
                </a:lnTo>
                <a:lnTo>
                  <a:pt x="4424019" y="508000"/>
                </a:lnTo>
                <a:lnTo>
                  <a:pt x="4393831" y="482600"/>
                </a:lnTo>
                <a:lnTo>
                  <a:pt x="4362691" y="444500"/>
                </a:lnTo>
                <a:lnTo>
                  <a:pt x="4330636" y="419100"/>
                </a:lnTo>
                <a:lnTo>
                  <a:pt x="4297667" y="381000"/>
                </a:lnTo>
                <a:lnTo>
                  <a:pt x="4263822" y="355600"/>
                </a:lnTo>
                <a:lnTo>
                  <a:pt x="4229125" y="330200"/>
                </a:lnTo>
                <a:lnTo>
                  <a:pt x="4193578" y="304800"/>
                </a:lnTo>
                <a:lnTo>
                  <a:pt x="4157230" y="279400"/>
                </a:lnTo>
                <a:lnTo>
                  <a:pt x="4120083" y="254000"/>
                </a:lnTo>
                <a:lnTo>
                  <a:pt x="4082161" y="228600"/>
                </a:lnTo>
                <a:lnTo>
                  <a:pt x="4043502" y="203200"/>
                </a:lnTo>
                <a:lnTo>
                  <a:pt x="4004119" y="177800"/>
                </a:lnTo>
                <a:lnTo>
                  <a:pt x="3964025" y="165100"/>
                </a:lnTo>
                <a:lnTo>
                  <a:pt x="3923258" y="139700"/>
                </a:lnTo>
                <a:lnTo>
                  <a:pt x="3881844" y="127000"/>
                </a:lnTo>
                <a:lnTo>
                  <a:pt x="3839781" y="101600"/>
                </a:lnTo>
                <a:lnTo>
                  <a:pt x="3710013" y="63500"/>
                </a:lnTo>
                <a:lnTo>
                  <a:pt x="3575329" y="25400"/>
                </a:lnTo>
                <a:lnTo>
                  <a:pt x="3529444" y="25400"/>
                </a:lnTo>
                <a:lnTo>
                  <a:pt x="3483114" y="12700"/>
                </a:lnTo>
                <a:lnTo>
                  <a:pt x="3389147" y="12700"/>
                </a:lnTo>
                <a:lnTo>
                  <a:pt x="3341573" y="0"/>
                </a:lnTo>
                <a:lnTo>
                  <a:pt x="3245701" y="0"/>
                </a:lnTo>
                <a:lnTo>
                  <a:pt x="3198126" y="12700"/>
                </a:lnTo>
                <a:lnTo>
                  <a:pt x="3104159" y="12700"/>
                </a:lnTo>
                <a:lnTo>
                  <a:pt x="3057829" y="25400"/>
                </a:lnTo>
                <a:lnTo>
                  <a:pt x="3011944" y="25400"/>
                </a:lnTo>
                <a:lnTo>
                  <a:pt x="2966542" y="38100"/>
                </a:lnTo>
                <a:lnTo>
                  <a:pt x="2747492" y="101600"/>
                </a:lnTo>
                <a:lnTo>
                  <a:pt x="2705430" y="127000"/>
                </a:lnTo>
                <a:lnTo>
                  <a:pt x="2664015" y="139700"/>
                </a:lnTo>
                <a:lnTo>
                  <a:pt x="2623235" y="165100"/>
                </a:lnTo>
                <a:lnTo>
                  <a:pt x="2583154" y="177800"/>
                </a:lnTo>
                <a:lnTo>
                  <a:pt x="2543772" y="203200"/>
                </a:lnTo>
                <a:lnTo>
                  <a:pt x="2505113" y="228600"/>
                </a:lnTo>
                <a:lnTo>
                  <a:pt x="2467191" y="254000"/>
                </a:lnTo>
                <a:lnTo>
                  <a:pt x="2430043" y="279400"/>
                </a:lnTo>
                <a:lnTo>
                  <a:pt x="2393696" y="304800"/>
                </a:lnTo>
                <a:lnTo>
                  <a:pt x="2358148" y="330200"/>
                </a:lnTo>
                <a:lnTo>
                  <a:pt x="2323452" y="355600"/>
                </a:lnTo>
                <a:lnTo>
                  <a:pt x="2289606" y="381000"/>
                </a:lnTo>
                <a:lnTo>
                  <a:pt x="2256637" y="419100"/>
                </a:lnTo>
                <a:lnTo>
                  <a:pt x="2224570" y="444500"/>
                </a:lnTo>
                <a:lnTo>
                  <a:pt x="2193442" y="482600"/>
                </a:lnTo>
                <a:lnTo>
                  <a:pt x="2163254" y="508000"/>
                </a:lnTo>
                <a:lnTo>
                  <a:pt x="2134031" y="546100"/>
                </a:lnTo>
                <a:lnTo>
                  <a:pt x="2105799" y="584200"/>
                </a:lnTo>
                <a:lnTo>
                  <a:pt x="2078596" y="622300"/>
                </a:lnTo>
                <a:lnTo>
                  <a:pt x="2052421" y="647700"/>
                </a:lnTo>
                <a:lnTo>
                  <a:pt x="2027301" y="685800"/>
                </a:lnTo>
                <a:lnTo>
                  <a:pt x="2003272" y="723900"/>
                </a:lnTo>
                <a:lnTo>
                  <a:pt x="1980336" y="762000"/>
                </a:lnTo>
                <a:lnTo>
                  <a:pt x="1958530" y="800100"/>
                </a:lnTo>
                <a:lnTo>
                  <a:pt x="1937880" y="850900"/>
                </a:lnTo>
                <a:lnTo>
                  <a:pt x="1918385" y="889000"/>
                </a:lnTo>
                <a:lnTo>
                  <a:pt x="1900097" y="927100"/>
                </a:lnTo>
                <a:lnTo>
                  <a:pt x="1883029" y="965200"/>
                </a:lnTo>
                <a:lnTo>
                  <a:pt x="1867179" y="1016000"/>
                </a:lnTo>
                <a:lnTo>
                  <a:pt x="1852612" y="1054100"/>
                </a:lnTo>
                <a:lnTo>
                  <a:pt x="1839315" y="1104900"/>
                </a:lnTo>
                <a:lnTo>
                  <a:pt x="1827326" y="1143000"/>
                </a:lnTo>
                <a:lnTo>
                  <a:pt x="1816658" y="1193800"/>
                </a:lnTo>
                <a:lnTo>
                  <a:pt x="1807337" y="1231900"/>
                </a:lnTo>
                <a:lnTo>
                  <a:pt x="1799399" y="1282700"/>
                </a:lnTo>
                <a:lnTo>
                  <a:pt x="1792846" y="1320800"/>
                </a:lnTo>
                <a:lnTo>
                  <a:pt x="1787715" y="1371600"/>
                </a:lnTo>
                <a:lnTo>
                  <a:pt x="1784019" y="1422400"/>
                </a:lnTo>
                <a:lnTo>
                  <a:pt x="1781797" y="1473200"/>
                </a:lnTo>
                <a:lnTo>
                  <a:pt x="1781048" y="1511300"/>
                </a:lnTo>
                <a:lnTo>
                  <a:pt x="1781797" y="1562100"/>
                </a:lnTo>
                <a:lnTo>
                  <a:pt x="1784019" y="1612900"/>
                </a:lnTo>
                <a:lnTo>
                  <a:pt x="1787715" y="1663700"/>
                </a:lnTo>
                <a:lnTo>
                  <a:pt x="1792846" y="1701800"/>
                </a:lnTo>
                <a:lnTo>
                  <a:pt x="1799399" y="1752600"/>
                </a:lnTo>
                <a:lnTo>
                  <a:pt x="1807337" y="1803400"/>
                </a:lnTo>
                <a:lnTo>
                  <a:pt x="1816658" y="1841500"/>
                </a:lnTo>
                <a:lnTo>
                  <a:pt x="1827326" y="1892300"/>
                </a:lnTo>
                <a:lnTo>
                  <a:pt x="1839315" y="1930400"/>
                </a:lnTo>
                <a:lnTo>
                  <a:pt x="1852612" y="1981200"/>
                </a:lnTo>
                <a:lnTo>
                  <a:pt x="1867179" y="2019300"/>
                </a:lnTo>
                <a:lnTo>
                  <a:pt x="1883029" y="2057400"/>
                </a:lnTo>
                <a:lnTo>
                  <a:pt x="1900097" y="2108200"/>
                </a:lnTo>
                <a:lnTo>
                  <a:pt x="1918385" y="2146300"/>
                </a:lnTo>
                <a:lnTo>
                  <a:pt x="1937880" y="2184400"/>
                </a:lnTo>
                <a:lnTo>
                  <a:pt x="1958530" y="2222500"/>
                </a:lnTo>
                <a:lnTo>
                  <a:pt x="1980336" y="2260600"/>
                </a:lnTo>
                <a:lnTo>
                  <a:pt x="2003272" y="2298700"/>
                </a:lnTo>
                <a:lnTo>
                  <a:pt x="2027301" y="2336800"/>
                </a:lnTo>
                <a:lnTo>
                  <a:pt x="2052421" y="2374900"/>
                </a:lnTo>
                <a:lnTo>
                  <a:pt x="2078596" y="2413000"/>
                </a:lnTo>
                <a:lnTo>
                  <a:pt x="2105799" y="2451100"/>
                </a:lnTo>
                <a:lnTo>
                  <a:pt x="2134031" y="2489200"/>
                </a:lnTo>
                <a:lnTo>
                  <a:pt x="2163254" y="2514600"/>
                </a:lnTo>
                <a:lnTo>
                  <a:pt x="2193442" y="2552700"/>
                </a:lnTo>
                <a:lnTo>
                  <a:pt x="2224570" y="2590800"/>
                </a:lnTo>
                <a:lnTo>
                  <a:pt x="2256637" y="2616200"/>
                </a:lnTo>
                <a:lnTo>
                  <a:pt x="2289606" y="2641600"/>
                </a:lnTo>
                <a:lnTo>
                  <a:pt x="2323452" y="2679700"/>
                </a:lnTo>
                <a:lnTo>
                  <a:pt x="2358148" y="2705100"/>
                </a:lnTo>
                <a:lnTo>
                  <a:pt x="2393696" y="2730500"/>
                </a:lnTo>
                <a:lnTo>
                  <a:pt x="2430043" y="2755900"/>
                </a:lnTo>
                <a:lnTo>
                  <a:pt x="2467191" y="2781300"/>
                </a:lnTo>
                <a:lnTo>
                  <a:pt x="2505113" y="2806700"/>
                </a:lnTo>
                <a:lnTo>
                  <a:pt x="2543772" y="2832100"/>
                </a:lnTo>
                <a:lnTo>
                  <a:pt x="2583154" y="2857500"/>
                </a:lnTo>
                <a:lnTo>
                  <a:pt x="2623235" y="2870200"/>
                </a:lnTo>
                <a:lnTo>
                  <a:pt x="2664015" y="2895600"/>
                </a:lnTo>
                <a:lnTo>
                  <a:pt x="2747492" y="2921000"/>
                </a:lnTo>
                <a:lnTo>
                  <a:pt x="2790164" y="2946400"/>
                </a:lnTo>
                <a:lnTo>
                  <a:pt x="2966542" y="2997200"/>
                </a:lnTo>
                <a:lnTo>
                  <a:pt x="3011944" y="2997200"/>
                </a:lnTo>
                <a:lnTo>
                  <a:pt x="3104159" y="3022600"/>
                </a:lnTo>
                <a:lnTo>
                  <a:pt x="3483114" y="3022600"/>
                </a:lnTo>
                <a:lnTo>
                  <a:pt x="3575329" y="2997200"/>
                </a:lnTo>
                <a:lnTo>
                  <a:pt x="3620732" y="2997200"/>
                </a:lnTo>
                <a:lnTo>
                  <a:pt x="3710013" y="2971800"/>
                </a:lnTo>
                <a:lnTo>
                  <a:pt x="3797109" y="2946400"/>
                </a:lnTo>
                <a:lnTo>
                  <a:pt x="3839781" y="2921000"/>
                </a:lnTo>
                <a:lnTo>
                  <a:pt x="3923258" y="2895600"/>
                </a:lnTo>
                <a:lnTo>
                  <a:pt x="3964025" y="2870200"/>
                </a:lnTo>
                <a:lnTo>
                  <a:pt x="4004119" y="2857500"/>
                </a:lnTo>
                <a:lnTo>
                  <a:pt x="4043502" y="2832100"/>
                </a:lnTo>
                <a:lnTo>
                  <a:pt x="4082161" y="2806700"/>
                </a:lnTo>
                <a:lnTo>
                  <a:pt x="4120083" y="2781300"/>
                </a:lnTo>
                <a:lnTo>
                  <a:pt x="4157230" y="2755900"/>
                </a:lnTo>
                <a:lnTo>
                  <a:pt x="4193578" y="2730500"/>
                </a:lnTo>
                <a:lnTo>
                  <a:pt x="4229125" y="2705100"/>
                </a:lnTo>
                <a:lnTo>
                  <a:pt x="4263822" y="2679700"/>
                </a:lnTo>
                <a:lnTo>
                  <a:pt x="4297667" y="2641600"/>
                </a:lnTo>
                <a:lnTo>
                  <a:pt x="4330636" y="2616200"/>
                </a:lnTo>
                <a:lnTo>
                  <a:pt x="4362691" y="2590800"/>
                </a:lnTo>
                <a:lnTo>
                  <a:pt x="4393831" y="2552700"/>
                </a:lnTo>
                <a:lnTo>
                  <a:pt x="4424019" y="2514600"/>
                </a:lnTo>
                <a:lnTo>
                  <a:pt x="4453242" y="2489200"/>
                </a:lnTo>
                <a:lnTo>
                  <a:pt x="4481474" y="2451100"/>
                </a:lnTo>
                <a:lnTo>
                  <a:pt x="4508678" y="2413000"/>
                </a:lnTo>
                <a:lnTo>
                  <a:pt x="4534852" y="2374900"/>
                </a:lnTo>
                <a:lnTo>
                  <a:pt x="4559973" y="2336800"/>
                </a:lnTo>
                <a:lnTo>
                  <a:pt x="4584001" y="2298700"/>
                </a:lnTo>
                <a:lnTo>
                  <a:pt x="4606937" y="2260600"/>
                </a:lnTo>
                <a:lnTo>
                  <a:pt x="4628743" y="2222500"/>
                </a:lnTo>
                <a:lnTo>
                  <a:pt x="4649394" y="2184400"/>
                </a:lnTo>
                <a:lnTo>
                  <a:pt x="4668875" y="2146300"/>
                </a:lnTo>
                <a:lnTo>
                  <a:pt x="4687176" y="2108200"/>
                </a:lnTo>
                <a:lnTo>
                  <a:pt x="4704245" y="2057400"/>
                </a:lnTo>
                <a:lnTo>
                  <a:pt x="4720082" y="2019300"/>
                </a:lnTo>
                <a:lnTo>
                  <a:pt x="4734661" y="1981200"/>
                </a:lnTo>
                <a:lnTo>
                  <a:pt x="4747958" y="1930400"/>
                </a:lnTo>
                <a:lnTo>
                  <a:pt x="4759947" y="1892300"/>
                </a:lnTo>
                <a:lnTo>
                  <a:pt x="4770615" y="1841500"/>
                </a:lnTo>
                <a:lnTo>
                  <a:pt x="4779937" y="1803400"/>
                </a:lnTo>
                <a:lnTo>
                  <a:pt x="4787874" y="1752600"/>
                </a:lnTo>
                <a:lnTo>
                  <a:pt x="4794428" y="1701800"/>
                </a:lnTo>
                <a:lnTo>
                  <a:pt x="4799558" y="1663700"/>
                </a:lnTo>
                <a:lnTo>
                  <a:pt x="4803254" y="1612900"/>
                </a:lnTo>
                <a:lnTo>
                  <a:pt x="4805477" y="1562100"/>
                </a:lnTo>
                <a:lnTo>
                  <a:pt x="4806226" y="1511300"/>
                </a:lnTo>
                <a:close/>
              </a:path>
              <a:path w="20093940" h="6407150">
                <a:moveTo>
                  <a:pt x="5959208" y="3337039"/>
                </a:moveTo>
                <a:lnTo>
                  <a:pt x="5957544" y="3290112"/>
                </a:lnTo>
                <a:lnTo>
                  <a:pt x="5952655" y="3244062"/>
                </a:lnTo>
                <a:lnTo>
                  <a:pt x="5944641" y="3199003"/>
                </a:lnTo>
                <a:lnTo>
                  <a:pt x="5933618" y="3155048"/>
                </a:lnTo>
                <a:lnTo>
                  <a:pt x="5933579" y="3337039"/>
                </a:lnTo>
                <a:lnTo>
                  <a:pt x="5931852" y="3383965"/>
                </a:lnTo>
                <a:lnTo>
                  <a:pt x="5931840" y="3384169"/>
                </a:lnTo>
                <a:lnTo>
                  <a:pt x="5926747" y="3430016"/>
                </a:lnTo>
                <a:lnTo>
                  <a:pt x="5926709" y="3430371"/>
                </a:lnTo>
                <a:lnTo>
                  <a:pt x="5918390" y="3475063"/>
                </a:lnTo>
                <a:lnTo>
                  <a:pt x="5918314" y="3475520"/>
                </a:lnTo>
                <a:lnTo>
                  <a:pt x="5906884" y="3519017"/>
                </a:lnTo>
                <a:lnTo>
                  <a:pt x="5906757" y="3519487"/>
                </a:lnTo>
                <a:lnTo>
                  <a:pt x="5892190" y="3562159"/>
                </a:lnTo>
                <a:lnTo>
                  <a:pt x="5874817" y="3603167"/>
                </a:lnTo>
                <a:lnTo>
                  <a:pt x="5874715" y="3603421"/>
                </a:lnTo>
                <a:lnTo>
                  <a:pt x="5854446" y="3643134"/>
                </a:lnTo>
                <a:lnTo>
                  <a:pt x="5831548" y="3681158"/>
                </a:lnTo>
                <a:lnTo>
                  <a:pt x="5806110" y="3717404"/>
                </a:lnTo>
                <a:lnTo>
                  <a:pt x="5778258" y="3751745"/>
                </a:lnTo>
                <a:lnTo>
                  <a:pt x="5748134" y="3784041"/>
                </a:lnTo>
                <a:lnTo>
                  <a:pt x="5715838" y="3814165"/>
                </a:lnTo>
                <a:lnTo>
                  <a:pt x="5681510" y="3842016"/>
                </a:lnTo>
                <a:lnTo>
                  <a:pt x="5645264" y="3867454"/>
                </a:lnTo>
                <a:lnTo>
                  <a:pt x="5607215" y="3890365"/>
                </a:lnTo>
                <a:lnTo>
                  <a:pt x="5567515" y="3910609"/>
                </a:lnTo>
                <a:lnTo>
                  <a:pt x="5526265" y="3928084"/>
                </a:lnTo>
                <a:lnTo>
                  <a:pt x="5483580" y="3942664"/>
                </a:lnTo>
                <a:lnTo>
                  <a:pt x="5439613" y="3954208"/>
                </a:lnTo>
                <a:lnTo>
                  <a:pt x="5394464" y="3962616"/>
                </a:lnTo>
                <a:lnTo>
                  <a:pt x="5348262" y="3967746"/>
                </a:lnTo>
                <a:lnTo>
                  <a:pt x="5301119" y="3969499"/>
                </a:lnTo>
                <a:lnTo>
                  <a:pt x="5254002" y="3967746"/>
                </a:lnTo>
                <a:lnTo>
                  <a:pt x="5207800" y="3962616"/>
                </a:lnTo>
                <a:lnTo>
                  <a:pt x="5162651" y="3954208"/>
                </a:lnTo>
                <a:lnTo>
                  <a:pt x="5118671" y="3942664"/>
                </a:lnTo>
                <a:lnTo>
                  <a:pt x="5075999" y="3928084"/>
                </a:lnTo>
                <a:lnTo>
                  <a:pt x="5034750" y="3910609"/>
                </a:lnTo>
                <a:lnTo>
                  <a:pt x="4995037" y="3890365"/>
                </a:lnTo>
                <a:lnTo>
                  <a:pt x="4957000" y="3867454"/>
                </a:lnTo>
                <a:lnTo>
                  <a:pt x="4920754" y="3842016"/>
                </a:lnTo>
                <a:lnTo>
                  <a:pt x="4886426" y="3814165"/>
                </a:lnTo>
                <a:lnTo>
                  <a:pt x="4854130" y="3784041"/>
                </a:lnTo>
                <a:lnTo>
                  <a:pt x="4823993" y="3751745"/>
                </a:lnTo>
                <a:lnTo>
                  <a:pt x="4796155" y="3717404"/>
                </a:lnTo>
                <a:lnTo>
                  <a:pt x="4770717" y="3681158"/>
                </a:lnTo>
                <a:lnTo>
                  <a:pt x="4747806" y="3643134"/>
                </a:lnTo>
                <a:lnTo>
                  <a:pt x="4727549" y="3603421"/>
                </a:lnTo>
                <a:lnTo>
                  <a:pt x="4710074" y="3562159"/>
                </a:lnTo>
                <a:lnTo>
                  <a:pt x="4695495" y="3519487"/>
                </a:lnTo>
                <a:lnTo>
                  <a:pt x="4683950" y="3475520"/>
                </a:lnTo>
                <a:lnTo>
                  <a:pt x="4675543" y="3430371"/>
                </a:lnTo>
                <a:lnTo>
                  <a:pt x="4670412" y="3384169"/>
                </a:lnTo>
                <a:lnTo>
                  <a:pt x="4668672" y="3337039"/>
                </a:lnTo>
                <a:lnTo>
                  <a:pt x="4670412" y="3290112"/>
                </a:lnTo>
                <a:lnTo>
                  <a:pt x="4670412" y="3289909"/>
                </a:lnTo>
                <a:lnTo>
                  <a:pt x="4675505" y="3244062"/>
                </a:lnTo>
                <a:lnTo>
                  <a:pt x="4675543" y="3243707"/>
                </a:lnTo>
                <a:lnTo>
                  <a:pt x="4683861" y="3199003"/>
                </a:lnTo>
                <a:lnTo>
                  <a:pt x="4683950" y="3198558"/>
                </a:lnTo>
                <a:lnTo>
                  <a:pt x="4695380" y="3155048"/>
                </a:lnTo>
                <a:lnTo>
                  <a:pt x="4695495" y="3154578"/>
                </a:lnTo>
                <a:lnTo>
                  <a:pt x="4710074" y="3111906"/>
                </a:lnTo>
                <a:lnTo>
                  <a:pt x="4727435" y="3070910"/>
                </a:lnTo>
                <a:lnTo>
                  <a:pt x="4747806" y="3030944"/>
                </a:lnTo>
                <a:lnTo>
                  <a:pt x="4770717" y="2992907"/>
                </a:lnTo>
                <a:lnTo>
                  <a:pt x="4796155" y="2956661"/>
                </a:lnTo>
                <a:lnTo>
                  <a:pt x="4823993" y="2922320"/>
                </a:lnTo>
                <a:lnTo>
                  <a:pt x="4854130" y="2890037"/>
                </a:lnTo>
                <a:lnTo>
                  <a:pt x="4886426" y="2859900"/>
                </a:lnTo>
                <a:lnTo>
                  <a:pt x="4920754" y="2832049"/>
                </a:lnTo>
                <a:lnTo>
                  <a:pt x="4957000" y="2806611"/>
                </a:lnTo>
                <a:lnTo>
                  <a:pt x="4995037" y="2783713"/>
                </a:lnTo>
                <a:lnTo>
                  <a:pt x="5034750" y="2763456"/>
                </a:lnTo>
                <a:lnTo>
                  <a:pt x="5075999" y="2745981"/>
                </a:lnTo>
                <a:lnTo>
                  <a:pt x="5118671" y="2731401"/>
                </a:lnTo>
                <a:lnTo>
                  <a:pt x="5162651" y="2719857"/>
                </a:lnTo>
                <a:lnTo>
                  <a:pt x="5207800" y="2711450"/>
                </a:lnTo>
                <a:lnTo>
                  <a:pt x="5254002" y="2706319"/>
                </a:lnTo>
                <a:lnTo>
                  <a:pt x="5301132" y="2704579"/>
                </a:lnTo>
                <a:lnTo>
                  <a:pt x="5348262" y="2706319"/>
                </a:lnTo>
                <a:lnTo>
                  <a:pt x="5394464" y="2711450"/>
                </a:lnTo>
                <a:lnTo>
                  <a:pt x="5439613" y="2719857"/>
                </a:lnTo>
                <a:lnTo>
                  <a:pt x="5483580" y="2731401"/>
                </a:lnTo>
                <a:lnTo>
                  <a:pt x="5526265" y="2745981"/>
                </a:lnTo>
                <a:lnTo>
                  <a:pt x="5567515" y="2763456"/>
                </a:lnTo>
                <a:lnTo>
                  <a:pt x="5607215" y="2783713"/>
                </a:lnTo>
                <a:lnTo>
                  <a:pt x="5645264" y="2806611"/>
                </a:lnTo>
                <a:lnTo>
                  <a:pt x="5681510" y="2832049"/>
                </a:lnTo>
                <a:lnTo>
                  <a:pt x="5715838" y="2859900"/>
                </a:lnTo>
                <a:lnTo>
                  <a:pt x="5748134" y="2890037"/>
                </a:lnTo>
                <a:lnTo>
                  <a:pt x="5778258" y="2922320"/>
                </a:lnTo>
                <a:lnTo>
                  <a:pt x="5806110" y="2956661"/>
                </a:lnTo>
                <a:lnTo>
                  <a:pt x="5831548" y="2992907"/>
                </a:lnTo>
                <a:lnTo>
                  <a:pt x="5854458" y="3030944"/>
                </a:lnTo>
                <a:lnTo>
                  <a:pt x="5874715" y="3070656"/>
                </a:lnTo>
                <a:lnTo>
                  <a:pt x="5892190" y="3111906"/>
                </a:lnTo>
                <a:lnTo>
                  <a:pt x="5906757" y="3154578"/>
                </a:lnTo>
                <a:lnTo>
                  <a:pt x="5918314" y="3198558"/>
                </a:lnTo>
                <a:lnTo>
                  <a:pt x="5926709" y="3243707"/>
                </a:lnTo>
                <a:lnTo>
                  <a:pt x="5931840" y="3289909"/>
                </a:lnTo>
                <a:lnTo>
                  <a:pt x="5933579" y="3337039"/>
                </a:lnTo>
                <a:lnTo>
                  <a:pt x="5933579" y="3154934"/>
                </a:lnTo>
                <a:lnTo>
                  <a:pt x="5919686" y="3112312"/>
                </a:lnTo>
                <a:lnTo>
                  <a:pt x="5902972" y="3070910"/>
                </a:lnTo>
                <a:lnTo>
                  <a:pt x="5883580" y="3030944"/>
                </a:lnTo>
                <a:lnTo>
                  <a:pt x="5861634" y="2992526"/>
                </a:lnTo>
                <a:lnTo>
                  <a:pt x="5837225" y="2955772"/>
                </a:lnTo>
                <a:lnTo>
                  <a:pt x="5810491" y="2920809"/>
                </a:lnTo>
                <a:lnTo>
                  <a:pt x="5781522" y="2887726"/>
                </a:lnTo>
                <a:lnTo>
                  <a:pt x="5750445" y="2856636"/>
                </a:lnTo>
                <a:lnTo>
                  <a:pt x="5717362" y="2827680"/>
                </a:lnTo>
                <a:lnTo>
                  <a:pt x="5682386" y="2800934"/>
                </a:lnTo>
                <a:lnTo>
                  <a:pt x="5645632" y="2776537"/>
                </a:lnTo>
                <a:lnTo>
                  <a:pt x="5607228" y="2754579"/>
                </a:lnTo>
                <a:lnTo>
                  <a:pt x="5567261" y="2735186"/>
                </a:lnTo>
                <a:lnTo>
                  <a:pt x="5525846" y="2718473"/>
                </a:lnTo>
                <a:lnTo>
                  <a:pt x="5483212" y="2704579"/>
                </a:lnTo>
                <a:lnTo>
                  <a:pt x="5439156" y="2693517"/>
                </a:lnTo>
                <a:lnTo>
                  <a:pt x="5394109" y="2685504"/>
                </a:lnTo>
                <a:lnTo>
                  <a:pt x="5348059" y="2680614"/>
                </a:lnTo>
                <a:lnTo>
                  <a:pt x="5301132" y="2678963"/>
                </a:lnTo>
                <a:lnTo>
                  <a:pt x="5254206" y="2680614"/>
                </a:lnTo>
                <a:lnTo>
                  <a:pt x="5208155" y="2685504"/>
                </a:lnTo>
                <a:lnTo>
                  <a:pt x="5163096" y="2693517"/>
                </a:lnTo>
                <a:lnTo>
                  <a:pt x="5119052" y="2704579"/>
                </a:lnTo>
                <a:lnTo>
                  <a:pt x="5076406" y="2718473"/>
                </a:lnTo>
                <a:lnTo>
                  <a:pt x="5035004" y="2735186"/>
                </a:lnTo>
                <a:lnTo>
                  <a:pt x="4995037" y="2754579"/>
                </a:lnTo>
                <a:lnTo>
                  <a:pt x="4956619" y="2776537"/>
                </a:lnTo>
                <a:lnTo>
                  <a:pt x="4919878" y="2800934"/>
                </a:lnTo>
                <a:lnTo>
                  <a:pt x="4884902" y="2827680"/>
                </a:lnTo>
                <a:lnTo>
                  <a:pt x="4851819" y="2856636"/>
                </a:lnTo>
                <a:lnTo>
                  <a:pt x="4820742" y="2887726"/>
                </a:lnTo>
                <a:lnTo>
                  <a:pt x="4791773" y="2920809"/>
                </a:lnTo>
                <a:lnTo>
                  <a:pt x="4765027" y="2955772"/>
                </a:lnTo>
                <a:lnTo>
                  <a:pt x="4740630" y="2992526"/>
                </a:lnTo>
                <a:lnTo>
                  <a:pt x="4718672" y="3030944"/>
                </a:lnTo>
                <a:lnTo>
                  <a:pt x="4699406" y="3070656"/>
                </a:lnTo>
                <a:lnTo>
                  <a:pt x="4682566" y="3112312"/>
                </a:lnTo>
                <a:lnTo>
                  <a:pt x="4668647" y="3155048"/>
                </a:lnTo>
                <a:lnTo>
                  <a:pt x="4657737" y="3198558"/>
                </a:lnTo>
                <a:lnTo>
                  <a:pt x="4657623" y="3199003"/>
                </a:lnTo>
                <a:lnTo>
                  <a:pt x="4649660" y="3243707"/>
                </a:lnTo>
                <a:lnTo>
                  <a:pt x="4649597" y="3244062"/>
                </a:lnTo>
                <a:lnTo>
                  <a:pt x="4644733" y="3289909"/>
                </a:lnTo>
                <a:lnTo>
                  <a:pt x="4644707" y="3290112"/>
                </a:lnTo>
                <a:lnTo>
                  <a:pt x="4643056" y="3337039"/>
                </a:lnTo>
                <a:lnTo>
                  <a:pt x="4644707" y="3383965"/>
                </a:lnTo>
                <a:lnTo>
                  <a:pt x="4649597" y="3430016"/>
                </a:lnTo>
                <a:lnTo>
                  <a:pt x="4657623" y="3475063"/>
                </a:lnTo>
                <a:lnTo>
                  <a:pt x="4668647" y="3519017"/>
                </a:lnTo>
                <a:lnTo>
                  <a:pt x="4682566" y="3561753"/>
                </a:lnTo>
                <a:lnTo>
                  <a:pt x="4699292" y="3603167"/>
                </a:lnTo>
                <a:lnTo>
                  <a:pt x="4718672" y="3643134"/>
                </a:lnTo>
                <a:lnTo>
                  <a:pt x="4740630" y="3681552"/>
                </a:lnTo>
                <a:lnTo>
                  <a:pt x="4765027" y="3718293"/>
                </a:lnTo>
                <a:lnTo>
                  <a:pt x="4791773" y="3753269"/>
                </a:lnTo>
                <a:lnTo>
                  <a:pt x="4820742" y="3786352"/>
                </a:lnTo>
                <a:lnTo>
                  <a:pt x="4851819" y="3817429"/>
                </a:lnTo>
                <a:lnTo>
                  <a:pt x="4884902" y="3846398"/>
                </a:lnTo>
                <a:lnTo>
                  <a:pt x="4919878" y="3873131"/>
                </a:lnTo>
                <a:lnTo>
                  <a:pt x="4956619" y="3897541"/>
                </a:lnTo>
                <a:lnTo>
                  <a:pt x="4995037" y="3919486"/>
                </a:lnTo>
                <a:lnTo>
                  <a:pt x="5035004" y="3938879"/>
                </a:lnTo>
                <a:lnTo>
                  <a:pt x="5076406" y="3955592"/>
                </a:lnTo>
                <a:lnTo>
                  <a:pt x="5119141" y="3969524"/>
                </a:lnTo>
                <a:lnTo>
                  <a:pt x="5163096" y="3980548"/>
                </a:lnTo>
                <a:lnTo>
                  <a:pt x="5208155" y="3988562"/>
                </a:lnTo>
                <a:lnTo>
                  <a:pt x="5254206" y="3993451"/>
                </a:lnTo>
                <a:lnTo>
                  <a:pt x="5301132" y="3995102"/>
                </a:lnTo>
                <a:lnTo>
                  <a:pt x="5348059" y="3993451"/>
                </a:lnTo>
                <a:lnTo>
                  <a:pt x="5394109" y="3988562"/>
                </a:lnTo>
                <a:lnTo>
                  <a:pt x="5439156" y="3980548"/>
                </a:lnTo>
                <a:lnTo>
                  <a:pt x="5483110" y="3969524"/>
                </a:lnTo>
                <a:lnTo>
                  <a:pt x="5525846" y="3955592"/>
                </a:lnTo>
                <a:lnTo>
                  <a:pt x="5567261" y="3938879"/>
                </a:lnTo>
                <a:lnTo>
                  <a:pt x="5607228" y="3919486"/>
                </a:lnTo>
                <a:lnTo>
                  <a:pt x="5645632" y="3897541"/>
                </a:lnTo>
                <a:lnTo>
                  <a:pt x="5682386" y="3873131"/>
                </a:lnTo>
                <a:lnTo>
                  <a:pt x="5717362" y="3846398"/>
                </a:lnTo>
                <a:lnTo>
                  <a:pt x="5750445" y="3817429"/>
                </a:lnTo>
                <a:lnTo>
                  <a:pt x="5781522" y="3786352"/>
                </a:lnTo>
                <a:lnTo>
                  <a:pt x="5810491" y="3753269"/>
                </a:lnTo>
                <a:lnTo>
                  <a:pt x="5837225" y="3718293"/>
                </a:lnTo>
                <a:lnTo>
                  <a:pt x="5861634" y="3681552"/>
                </a:lnTo>
                <a:lnTo>
                  <a:pt x="5883580" y="3643134"/>
                </a:lnTo>
                <a:lnTo>
                  <a:pt x="5902845" y="3603421"/>
                </a:lnTo>
                <a:lnTo>
                  <a:pt x="5902972" y="3603167"/>
                </a:lnTo>
                <a:lnTo>
                  <a:pt x="5919686" y="3561753"/>
                </a:lnTo>
                <a:lnTo>
                  <a:pt x="5933618" y="3519017"/>
                </a:lnTo>
                <a:lnTo>
                  <a:pt x="5944527" y="3475520"/>
                </a:lnTo>
                <a:lnTo>
                  <a:pt x="5952591" y="3430371"/>
                </a:lnTo>
                <a:lnTo>
                  <a:pt x="5952655" y="3430016"/>
                </a:lnTo>
                <a:lnTo>
                  <a:pt x="5957532" y="3384169"/>
                </a:lnTo>
                <a:lnTo>
                  <a:pt x="5957544" y="3383965"/>
                </a:lnTo>
                <a:lnTo>
                  <a:pt x="5959208" y="3337039"/>
                </a:lnTo>
                <a:close/>
              </a:path>
              <a:path w="20093940" h="6407150">
                <a:moveTo>
                  <a:pt x="20093623" y="4888319"/>
                </a:moveTo>
                <a:lnTo>
                  <a:pt x="0" y="4888319"/>
                </a:lnTo>
                <a:lnTo>
                  <a:pt x="0" y="6406591"/>
                </a:lnTo>
                <a:lnTo>
                  <a:pt x="20093623" y="6406591"/>
                </a:lnTo>
                <a:lnTo>
                  <a:pt x="20093623" y="4888319"/>
                </a:lnTo>
                <a:close/>
              </a:path>
            </a:pathLst>
          </a:custGeom>
          <a:solidFill>
            <a:srgbClr val="0066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24224" y="5457624"/>
            <a:ext cx="4938365" cy="427571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4747348" y="6819576"/>
            <a:ext cx="485140" cy="647065"/>
          </a:xfrm>
          <a:custGeom>
            <a:avLst/>
            <a:gdLst/>
            <a:ahLst/>
            <a:cxnLst/>
            <a:rect l="l" t="t" r="r" b="b"/>
            <a:pathLst>
              <a:path w="485139" h="647065">
                <a:moveTo>
                  <a:pt x="484568" y="309626"/>
                </a:moveTo>
                <a:lnTo>
                  <a:pt x="461111" y="265404"/>
                </a:lnTo>
                <a:lnTo>
                  <a:pt x="439915" y="258724"/>
                </a:lnTo>
                <a:lnTo>
                  <a:pt x="437769" y="258343"/>
                </a:lnTo>
                <a:lnTo>
                  <a:pt x="431038" y="258724"/>
                </a:lnTo>
                <a:lnTo>
                  <a:pt x="423367" y="258343"/>
                </a:lnTo>
                <a:lnTo>
                  <a:pt x="423468" y="241985"/>
                </a:lnTo>
                <a:lnTo>
                  <a:pt x="423519" y="234365"/>
                </a:lnTo>
                <a:lnTo>
                  <a:pt x="423100" y="211315"/>
                </a:lnTo>
                <a:lnTo>
                  <a:pt x="423011" y="205689"/>
                </a:lnTo>
                <a:lnTo>
                  <a:pt x="422884" y="193573"/>
                </a:lnTo>
                <a:lnTo>
                  <a:pt x="422833" y="187591"/>
                </a:lnTo>
                <a:lnTo>
                  <a:pt x="422262" y="174866"/>
                </a:lnTo>
                <a:lnTo>
                  <a:pt x="422173" y="172783"/>
                </a:lnTo>
                <a:lnTo>
                  <a:pt x="422059" y="170192"/>
                </a:lnTo>
                <a:lnTo>
                  <a:pt x="421982" y="168325"/>
                </a:lnTo>
                <a:lnTo>
                  <a:pt x="419620" y="149225"/>
                </a:lnTo>
                <a:lnTo>
                  <a:pt x="404723" y="101066"/>
                </a:lnTo>
                <a:lnTo>
                  <a:pt x="401853" y="96608"/>
                </a:lnTo>
                <a:lnTo>
                  <a:pt x="401853" y="184213"/>
                </a:lnTo>
                <a:lnTo>
                  <a:pt x="401853" y="258343"/>
                </a:lnTo>
                <a:lnTo>
                  <a:pt x="401840" y="184226"/>
                </a:lnTo>
                <a:lnTo>
                  <a:pt x="394436" y="134924"/>
                </a:lnTo>
                <a:lnTo>
                  <a:pt x="401853" y="184213"/>
                </a:lnTo>
                <a:lnTo>
                  <a:pt x="401853" y="96608"/>
                </a:lnTo>
                <a:lnTo>
                  <a:pt x="379336" y="61531"/>
                </a:lnTo>
                <a:lnTo>
                  <a:pt x="362775" y="47320"/>
                </a:lnTo>
                <a:lnTo>
                  <a:pt x="362775" y="209626"/>
                </a:lnTo>
                <a:lnTo>
                  <a:pt x="362534" y="255866"/>
                </a:lnTo>
                <a:lnTo>
                  <a:pt x="362534" y="198247"/>
                </a:lnTo>
                <a:lnTo>
                  <a:pt x="362775" y="209626"/>
                </a:lnTo>
                <a:lnTo>
                  <a:pt x="362775" y="47320"/>
                </a:lnTo>
                <a:lnTo>
                  <a:pt x="358825" y="43929"/>
                </a:lnTo>
                <a:lnTo>
                  <a:pt x="358825" y="152590"/>
                </a:lnTo>
                <a:lnTo>
                  <a:pt x="358787" y="152412"/>
                </a:lnTo>
                <a:lnTo>
                  <a:pt x="343408" y="115760"/>
                </a:lnTo>
                <a:lnTo>
                  <a:pt x="358800" y="152400"/>
                </a:lnTo>
                <a:lnTo>
                  <a:pt x="358825" y="152590"/>
                </a:lnTo>
                <a:lnTo>
                  <a:pt x="358825" y="43929"/>
                </a:lnTo>
                <a:lnTo>
                  <a:pt x="343763" y="30988"/>
                </a:lnTo>
                <a:lnTo>
                  <a:pt x="341007" y="29705"/>
                </a:lnTo>
                <a:lnTo>
                  <a:pt x="341007" y="174866"/>
                </a:lnTo>
                <a:lnTo>
                  <a:pt x="341007" y="257962"/>
                </a:lnTo>
                <a:lnTo>
                  <a:pt x="299262" y="257962"/>
                </a:lnTo>
                <a:lnTo>
                  <a:pt x="299262" y="420141"/>
                </a:lnTo>
                <a:lnTo>
                  <a:pt x="298754" y="431914"/>
                </a:lnTo>
                <a:lnTo>
                  <a:pt x="298640" y="434530"/>
                </a:lnTo>
                <a:lnTo>
                  <a:pt x="293979" y="448195"/>
                </a:lnTo>
                <a:lnTo>
                  <a:pt x="285242" y="460857"/>
                </a:lnTo>
                <a:lnTo>
                  <a:pt x="280555" y="466090"/>
                </a:lnTo>
                <a:lnTo>
                  <a:pt x="279628" y="470776"/>
                </a:lnTo>
                <a:lnTo>
                  <a:pt x="287896" y="508342"/>
                </a:lnTo>
                <a:lnTo>
                  <a:pt x="290296" y="519061"/>
                </a:lnTo>
                <a:lnTo>
                  <a:pt x="291274" y="528434"/>
                </a:lnTo>
                <a:lnTo>
                  <a:pt x="289115" y="534695"/>
                </a:lnTo>
                <a:lnTo>
                  <a:pt x="283591" y="538124"/>
                </a:lnTo>
                <a:lnTo>
                  <a:pt x="274205" y="539280"/>
                </a:lnTo>
                <a:lnTo>
                  <a:pt x="209626" y="539280"/>
                </a:lnTo>
                <a:lnTo>
                  <a:pt x="200723" y="538124"/>
                </a:lnTo>
                <a:lnTo>
                  <a:pt x="195414" y="534695"/>
                </a:lnTo>
                <a:lnTo>
                  <a:pt x="193382" y="528586"/>
                </a:lnTo>
                <a:lnTo>
                  <a:pt x="194271" y="519430"/>
                </a:lnTo>
                <a:lnTo>
                  <a:pt x="196672" y="508533"/>
                </a:lnTo>
                <a:lnTo>
                  <a:pt x="201383" y="486244"/>
                </a:lnTo>
                <a:lnTo>
                  <a:pt x="203822" y="475272"/>
                </a:lnTo>
                <a:lnTo>
                  <a:pt x="205130" y="469836"/>
                </a:lnTo>
                <a:lnTo>
                  <a:pt x="204190" y="466280"/>
                </a:lnTo>
                <a:lnTo>
                  <a:pt x="200266" y="461784"/>
                </a:lnTo>
                <a:lnTo>
                  <a:pt x="190461" y="447281"/>
                </a:lnTo>
                <a:lnTo>
                  <a:pt x="185737" y="431914"/>
                </a:lnTo>
                <a:lnTo>
                  <a:pt x="185953" y="420141"/>
                </a:lnTo>
                <a:lnTo>
                  <a:pt x="186029" y="415810"/>
                </a:lnTo>
                <a:lnTo>
                  <a:pt x="213207" y="374853"/>
                </a:lnTo>
                <a:lnTo>
                  <a:pt x="244246" y="366890"/>
                </a:lnTo>
                <a:lnTo>
                  <a:pt x="261708" y="370306"/>
                </a:lnTo>
                <a:lnTo>
                  <a:pt x="276326" y="377799"/>
                </a:lnTo>
                <a:lnTo>
                  <a:pt x="287807" y="389432"/>
                </a:lnTo>
                <a:lnTo>
                  <a:pt x="295910" y="405269"/>
                </a:lnTo>
                <a:lnTo>
                  <a:pt x="299262" y="420141"/>
                </a:lnTo>
                <a:lnTo>
                  <a:pt x="299262" y="257962"/>
                </a:lnTo>
                <a:lnTo>
                  <a:pt x="145427" y="257962"/>
                </a:lnTo>
                <a:lnTo>
                  <a:pt x="145300" y="250177"/>
                </a:lnTo>
                <a:lnTo>
                  <a:pt x="145186" y="241985"/>
                </a:lnTo>
                <a:lnTo>
                  <a:pt x="145059" y="234365"/>
                </a:lnTo>
                <a:lnTo>
                  <a:pt x="144513" y="211315"/>
                </a:lnTo>
                <a:lnTo>
                  <a:pt x="144602" y="187591"/>
                </a:lnTo>
                <a:lnTo>
                  <a:pt x="145986" y="165506"/>
                </a:lnTo>
                <a:lnTo>
                  <a:pt x="156235" y="132892"/>
                </a:lnTo>
                <a:lnTo>
                  <a:pt x="156311" y="132638"/>
                </a:lnTo>
                <a:lnTo>
                  <a:pt x="177965" y="106502"/>
                </a:lnTo>
                <a:lnTo>
                  <a:pt x="207860" y="89281"/>
                </a:lnTo>
                <a:lnTo>
                  <a:pt x="242938" y="83146"/>
                </a:lnTo>
                <a:lnTo>
                  <a:pt x="277164" y="89446"/>
                </a:lnTo>
                <a:lnTo>
                  <a:pt x="306412" y="106781"/>
                </a:lnTo>
                <a:lnTo>
                  <a:pt x="327977" y="132892"/>
                </a:lnTo>
                <a:lnTo>
                  <a:pt x="339140" y="165506"/>
                </a:lnTo>
                <a:lnTo>
                  <a:pt x="339890" y="170192"/>
                </a:lnTo>
                <a:lnTo>
                  <a:pt x="341007" y="174866"/>
                </a:lnTo>
                <a:lnTo>
                  <a:pt x="341007" y="29705"/>
                </a:lnTo>
                <a:lnTo>
                  <a:pt x="327329" y="23317"/>
                </a:lnTo>
                <a:lnTo>
                  <a:pt x="303606" y="12242"/>
                </a:lnTo>
                <a:lnTo>
                  <a:pt x="303606" y="79667"/>
                </a:lnTo>
                <a:lnTo>
                  <a:pt x="281825" y="67818"/>
                </a:lnTo>
                <a:lnTo>
                  <a:pt x="241808" y="61074"/>
                </a:lnTo>
                <a:lnTo>
                  <a:pt x="202171" y="68059"/>
                </a:lnTo>
                <a:lnTo>
                  <a:pt x="167576" y="87185"/>
                </a:lnTo>
                <a:lnTo>
                  <a:pt x="141084" y="116128"/>
                </a:lnTo>
                <a:lnTo>
                  <a:pt x="125857" y="152412"/>
                </a:lnTo>
                <a:lnTo>
                  <a:pt x="125768" y="152590"/>
                </a:lnTo>
                <a:lnTo>
                  <a:pt x="124167" y="161417"/>
                </a:lnTo>
                <a:lnTo>
                  <a:pt x="123177" y="170154"/>
                </a:lnTo>
                <a:lnTo>
                  <a:pt x="124155" y="161417"/>
                </a:lnTo>
                <a:lnTo>
                  <a:pt x="125768" y="152590"/>
                </a:lnTo>
                <a:lnTo>
                  <a:pt x="141084" y="116128"/>
                </a:lnTo>
                <a:lnTo>
                  <a:pt x="167576" y="87172"/>
                </a:lnTo>
                <a:lnTo>
                  <a:pt x="202171" y="68059"/>
                </a:lnTo>
                <a:lnTo>
                  <a:pt x="241808" y="61074"/>
                </a:lnTo>
                <a:lnTo>
                  <a:pt x="281838" y="67805"/>
                </a:lnTo>
                <a:lnTo>
                  <a:pt x="303606" y="79667"/>
                </a:lnTo>
                <a:lnTo>
                  <a:pt x="303606" y="12242"/>
                </a:lnTo>
                <a:lnTo>
                  <a:pt x="298348" y="9779"/>
                </a:lnTo>
                <a:lnTo>
                  <a:pt x="248323" y="0"/>
                </a:lnTo>
                <a:lnTo>
                  <a:pt x="200990" y="4102"/>
                </a:lnTo>
                <a:lnTo>
                  <a:pt x="156705" y="21704"/>
                </a:lnTo>
                <a:lnTo>
                  <a:pt x="122555" y="47434"/>
                </a:lnTo>
                <a:lnTo>
                  <a:pt x="122555" y="179489"/>
                </a:lnTo>
                <a:lnTo>
                  <a:pt x="122415" y="183121"/>
                </a:lnTo>
                <a:lnTo>
                  <a:pt x="122555" y="179489"/>
                </a:lnTo>
                <a:lnTo>
                  <a:pt x="122555" y="47434"/>
                </a:lnTo>
                <a:lnTo>
                  <a:pt x="122301" y="47625"/>
                </a:lnTo>
                <a:lnTo>
                  <a:pt x="122301" y="186169"/>
                </a:lnTo>
                <a:lnTo>
                  <a:pt x="122250" y="187591"/>
                </a:lnTo>
                <a:lnTo>
                  <a:pt x="122135" y="193573"/>
                </a:lnTo>
                <a:lnTo>
                  <a:pt x="122021" y="254317"/>
                </a:lnTo>
                <a:lnTo>
                  <a:pt x="121945" y="205689"/>
                </a:lnTo>
                <a:lnTo>
                  <a:pt x="122212" y="188531"/>
                </a:lnTo>
                <a:lnTo>
                  <a:pt x="122301" y="186169"/>
                </a:lnTo>
                <a:lnTo>
                  <a:pt x="122301" y="47625"/>
                </a:lnTo>
                <a:lnTo>
                  <a:pt x="115862" y="52463"/>
                </a:lnTo>
                <a:lnTo>
                  <a:pt x="107708" y="62014"/>
                </a:lnTo>
                <a:lnTo>
                  <a:pt x="107708" y="96634"/>
                </a:lnTo>
                <a:lnTo>
                  <a:pt x="89281" y="139306"/>
                </a:lnTo>
                <a:lnTo>
                  <a:pt x="83604" y="168325"/>
                </a:lnTo>
                <a:lnTo>
                  <a:pt x="89268" y="139293"/>
                </a:lnTo>
                <a:lnTo>
                  <a:pt x="107708" y="96634"/>
                </a:lnTo>
                <a:lnTo>
                  <a:pt x="107708" y="62014"/>
                </a:lnTo>
                <a:lnTo>
                  <a:pt x="91528" y="80949"/>
                </a:lnTo>
                <a:lnTo>
                  <a:pt x="83286" y="96316"/>
                </a:lnTo>
                <a:lnTo>
                  <a:pt x="83286" y="257213"/>
                </a:lnTo>
                <a:lnTo>
                  <a:pt x="83185" y="250177"/>
                </a:lnTo>
                <a:lnTo>
                  <a:pt x="83286" y="257213"/>
                </a:lnTo>
                <a:lnTo>
                  <a:pt x="83286" y="96316"/>
                </a:lnTo>
                <a:lnTo>
                  <a:pt x="82956" y="96926"/>
                </a:lnTo>
                <a:lnTo>
                  <a:pt x="82956" y="234365"/>
                </a:lnTo>
                <a:lnTo>
                  <a:pt x="82829" y="226517"/>
                </a:lnTo>
                <a:lnTo>
                  <a:pt x="82854" y="227215"/>
                </a:lnTo>
                <a:lnTo>
                  <a:pt x="82956" y="234365"/>
                </a:lnTo>
                <a:lnTo>
                  <a:pt x="82956" y="96926"/>
                </a:lnTo>
                <a:lnTo>
                  <a:pt x="74510" y="112661"/>
                </a:lnTo>
                <a:lnTo>
                  <a:pt x="64554" y="147345"/>
                </a:lnTo>
                <a:lnTo>
                  <a:pt x="61518" y="183172"/>
                </a:lnTo>
                <a:lnTo>
                  <a:pt x="61429" y="184213"/>
                </a:lnTo>
                <a:lnTo>
                  <a:pt x="61391" y="258533"/>
                </a:lnTo>
                <a:lnTo>
                  <a:pt x="58204" y="258724"/>
                </a:lnTo>
                <a:lnTo>
                  <a:pt x="56515" y="258902"/>
                </a:lnTo>
                <a:lnTo>
                  <a:pt x="54825" y="258902"/>
                </a:lnTo>
                <a:lnTo>
                  <a:pt x="50914" y="259511"/>
                </a:lnTo>
                <a:lnTo>
                  <a:pt x="50914" y="281178"/>
                </a:lnTo>
                <a:lnTo>
                  <a:pt x="38188" y="282943"/>
                </a:lnTo>
                <a:lnTo>
                  <a:pt x="50901" y="281178"/>
                </a:lnTo>
                <a:lnTo>
                  <a:pt x="50914" y="259511"/>
                </a:lnTo>
                <a:lnTo>
                  <a:pt x="30162" y="262712"/>
                </a:lnTo>
                <a:lnTo>
                  <a:pt x="23825" y="266547"/>
                </a:lnTo>
                <a:lnTo>
                  <a:pt x="23825" y="608304"/>
                </a:lnTo>
                <a:lnTo>
                  <a:pt x="22072" y="595058"/>
                </a:lnTo>
                <a:lnTo>
                  <a:pt x="22085" y="559384"/>
                </a:lnTo>
                <a:lnTo>
                  <a:pt x="22085" y="595058"/>
                </a:lnTo>
                <a:lnTo>
                  <a:pt x="23825" y="608304"/>
                </a:lnTo>
                <a:lnTo>
                  <a:pt x="23825" y="266547"/>
                </a:lnTo>
                <a:lnTo>
                  <a:pt x="13093" y="273037"/>
                </a:lnTo>
                <a:lnTo>
                  <a:pt x="3200" y="290385"/>
                </a:lnTo>
                <a:lnTo>
                  <a:pt x="0" y="315239"/>
                </a:lnTo>
                <a:lnTo>
                  <a:pt x="0" y="591121"/>
                </a:lnTo>
                <a:lnTo>
                  <a:pt x="13804" y="633501"/>
                </a:lnTo>
                <a:lnTo>
                  <a:pt x="56362" y="646899"/>
                </a:lnTo>
                <a:lnTo>
                  <a:pt x="406742" y="646899"/>
                </a:lnTo>
                <a:lnTo>
                  <a:pt x="437032" y="646722"/>
                </a:lnTo>
                <a:lnTo>
                  <a:pt x="455587" y="643153"/>
                </a:lnTo>
                <a:lnTo>
                  <a:pt x="470420" y="633501"/>
                </a:lnTo>
                <a:lnTo>
                  <a:pt x="476364" y="624814"/>
                </a:lnTo>
                <a:lnTo>
                  <a:pt x="480428" y="618896"/>
                </a:lnTo>
                <a:lnTo>
                  <a:pt x="484568" y="600481"/>
                </a:lnTo>
                <a:lnTo>
                  <a:pt x="484568" y="309626"/>
                </a:lnTo>
                <a:close/>
              </a:path>
            </a:pathLst>
          </a:custGeom>
          <a:solidFill>
            <a:srgbClr val="0066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933090" y="7186468"/>
            <a:ext cx="113531" cy="172382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7592250" y="5246304"/>
            <a:ext cx="1932939" cy="1930400"/>
          </a:xfrm>
          <a:custGeom>
            <a:avLst/>
            <a:gdLst/>
            <a:ahLst/>
            <a:cxnLst/>
            <a:rect l="l" t="t" r="r" b="b"/>
            <a:pathLst>
              <a:path w="1932940" h="1930400">
                <a:moveTo>
                  <a:pt x="1109025" y="12700"/>
                </a:moveTo>
                <a:lnTo>
                  <a:pt x="823795" y="12700"/>
                </a:lnTo>
                <a:lnTo>
                  <a:pt x="687612" y="50800"/>
                </a:lnTo>
                <a:lnTo>
                  <a:pt x="559368" y="88900"/>
                </a:lnTo>
                <a:lnTo>
                  <a:pt x="518644" y="114300"/>
                </a:lnTo>
                <a:lnTo>
                  <a:pt x="479026" y="139700"/>
                </a:lnTo>
                <a:lnTo>
                  <a:pt x="440569" y="165100"/>
                </a:lnTo>
                <a:lnTo>
                  <a:pt x="403329" y="190500"/>
                </a:lnTo>
                <a:lnTo>
                  <a:pt x="367362" y="215900"/>
                </a:lnTo>
                <a:lnTo>
                  <a:pt x="332723" y="241300"/>
                </a:lnTo>
                <a:lnTo>
                  <a:pt x="299468" y="266700"/>
                </a:lnTo>
                <a:lnTo>
                  <a:pt x="267653" y="304800"/>
                </a:lnTo>
                <a:lnTo>
                  <a:pt x="237334" y="342900"/>
                </a:lnTo>
                <a:lnTo>
                  <a:pt x="208567" y="368300"/>
                </a:lnTo>
                <a:lnTo>
                  <a:pt x="181408" y="406400"/>
                </a:lnTo>
                <a:lnTo>
                  <a:pt x="155911" y="444500"/>
                </a:lnTo>
                <a:lnTo>
                  <a:pt x="132134" y="482600"/>
                </a:lnTo>
                <a:lnTo>
                  <a:pt x="110131" y="520700"/>
                </a:lnTo>
                <a:lnTo>
                  <a:pt x="89960" y="558800"/>
                </a:lnTo>
                <a:lnTo>
                  <a:pt x="71674" y="609600"/>
                </a:lnTo>
                <a:lnTo>
                  <a:pt x="55331" y="647700"/>
                </a:lnTo>
                <a:lnTo>
                  <a:pt x="40986" y="685800"/>
                </a:lnTo>
                <a:lnTo>
                  <a:pt x="28695" y="736600"/>
                </a:lnTo>
                <a:lnTo>
                  <a:pt x="18513" y="787400"/>
                </a:lnTo>
                <a:lnTo>
                  <a:pt x="10497" y="825500"/>
                </a:lnTo>
                <a:lnTo>
                  <a:pt x="4702" y="876300"/>
                </a:lnTo>
                <a:lnTo>
                  <a:pt x="1185" y="927100"/>
                </a:lnTo>
                <a:lnTo>
                  <a:pt x="0" y="965200"/>
                </a:lnTo>
                <a:lnTo>
                  <a:pt x="1185" y="1016000"/>
                </a:lnTo>
                <a:lnTo>
                  <a:pt x="4702" y="1066800"/>
                </a:lnTo>
                <a:lnTo>
                  <a:pt x="10497" y="1117600"/>
                </a:lnTo>
                <a:lnTo>
                  <a:pt x="18513" y="1155700"/>
                </a:lnTo>
                <a:lnTo>
                  <a:pt x="28695" y="1206500"/>
                </a:lnTo>
                <a:lnTo>
                  <a:pt x="40986" y="1244600"/>
                </a:lnTo>
                <a:lnTo>
                  <a:pt x="55331" y="1295400"/>
                </a:lnTo>
                <a:lnTo>
                  <a:pt x="71674" y="1333500"/>
                </a:lnTo>
                <a:lnTo>
                  <a:pt x="89960" y="1371600"/>
                </a:lnTo>
                <a:lnTo>
                  <a:pt x="110131" y="1422400"/>
                </a:lnTo>
                <a:lnTo>
                  <a:pt x="132134" y="1460500"/>
                </a:lnTo>
                <a:lnTo>
                  <a:pt x="155911" y="1498600"/>
                </a:lnTo>
                <a:lnTo>
                  <a:pt x="181408" y="1536700"/>
                </a:lnTo>
                <a:lnTo>
                  <a:pt x="208567" y="1574800"/>
                </a:lnTo>
                <a:lnTo>
                  <a:pt x="237334" y="1600200"/>
                </a:lnTo>
                <a:lnTo>
                  <a:pt x="267653" y="1638300"/>
                </a:lnTo>
                <a:lnTo>
                  <a:pt x="299468" y="1663700"/>
                </a:lnTo>
                <a:lnTo>
                  <a:pt x="332723" y="1701800"/>
                </a:lnTo>
                <a:lnTo>
                  <a:pt x="367362" y="1727200"/>
                </a:lnTo>
                <a:lnTo>
                  <a:pt x="403329" y="1752600"/>
                </a:lnTo>
                <a:lnTo>
                  <a:pt x="440569" y="1778000"/>
                </a:lnTo>
                <a:lnTo>
                  <a:pt x="479026" y="1803400"/>
                </a:lnTo>
                <a:lnTo>
                  <a:pt x="518644" y="1828800"/>
                </a:lnTo>
                <a:lnTo>
                  <a:pt x="559368" y="1841500"/>
                </a:lnTo>
                <a:lnTo>
                  <a:pt x="601141" y="1866900"/>
                </a:lnTo>
                <a:lnTo>
                  <a:pt x="687612" y="1892300"/>
                </a:lnTo>
                <a:lnTo>
                  <a:pt x="823795" y="1930400"/>
                </a:lnTo>
                <a:lnTo>
                  <a:pt x="1109025" y="1930400"/>
                </a:lnTo>
                <a:lnTo>
                  <a:pt x="1200621" y="1905000"/>
                </a:lnTo>
                <a:lnTo>
                  <a:pt x="966410" y="1905000"/>
                </a:lnTo>
                <a:lnTo>
                  <a:pt x="918687" y="1892300"/>
                </a:lnTo>
                <a:lnTo>
                  <a:pt x="825155" y="1892300"/>
                </a:lnTo>
                <a:lnTo>
                  <a:pt x="690523" y="1854200"/>
                </a:lnTo>
                <a:lnTo>
                  <a:pt x="605231" y="1828800"/>
                </a:lnTo>
                <a:lnTo>
                  <a:pt x="564101" y="1803400"/>
                </a:lnTo>
                <a:lnTo>
                  <a:pt x="524060" y="1790700"/>
                </a:lnTo>
                <a:lnTo>
                  <a:pt x="485166" y="1765300"/>
                </a:lnTo>
                <a:lnTo>
                  <a:pt x="447478" y="1739900"/>
                </a:lnTo>
                <a:lnTo>
                  <a:pt x="411055" y="1714500"/>
                </a:lnTo>
                <a:lnTo>
                  <a:pt x="375957" y="1689100"/>
                </a:lnTo>
                <a:lnTo>
                  <a:pt x="342241" y="1663700"/>
                </a:lnTo>
                <a:lnTo>
                  <a:pt x="309967" y="1625600"/>
                </a:lnTo>
                <a:lnTo>
                  <a:pt x="279193" y="1600200"/>
                </a:lnTo>
                <a:lnTo>
                  <a:pt x="249978" y="1562100"/>
                </a:lnTo>
                <a:lnTo>
                  <a:pt x="222381" y="1524000"/>
                </a:lnTo>
                <a:lnTo>
                  <a:pt x="196461" y="1485900"/>
                </a:lnTo>
                <a:lnTo>
                  <a:pt x="172277" y="1447800"/>
                </a:lnTo>
                <a:lnTo>
                  <a:pt x="149887" y="1409700"/>
                </a:lnTo>
                <a:lnTo>
                  <a:pt x="129351" y="1371600"/>
                </a:lnTo>
                <a:lnTo>
                  <a:pt x="110726" y="1333500"/>
                </a:lnTo>
                <a:lnTo>
                  <a:pt x="94073" y="1295400"/>
                </a:lnTo>
                <a:lnTo>
                  <a:pt x="79449" y="1244600"/>
                </a:lnTo>
                <a:lnTo>
                  <a:pt x="66913" y="1206500"/>
                </a:lnTo>
                <a:lnTo>
                  <a:pt x="56525" y="1155700"/>
                </a:lnTo>
                <a:lnTo>
                  <a:pt x="48343" y="1117600"/>
                </a:lnTo>
                <a:lnTo>
                  <a:pt x="42426" y="1066800"/>
                </a:lnTo>
                <a:lnTo>
                  <a:pt x="38832" y="1016000"/>
                </a:lnTo>
                <a:lnTo>
                  <a:pt x="37621" y="965200"/>
                </a:lnTo>
                <a:lnTo>
                  <a:pt x="38832" y="927100"/>
                </a:lnTo>
                <a:lnTo>
                  <a:pt x="42426" y="876300"/>
                </a:lnTo>
                <a:lnTo>
                  <a:pt x="48343" y="825500"/>
                </a:lnTo>
                <a:lnTo>
                  <a:pt x="56525" y="787400"/>
                </a:lnTo>
                <a:lnTo>
                  <a:pt x="66913" y="736600"/>
                </a:lnTo>
                <a:lnTo>
                  <a:pt x="79449" y="698500"/>
                </a:lnTo>
                <a:lnTo>
                  <a:pt x="94073" y="647700"/>
                </a:lnTo>
                <a:lnTo>
                  <a:pt x="110726" y="609600"/>
                </a:lnTo>
                <a:lnTo>
                  <a:pt x="129351" y="571500"/>
                </a:lnTo>
                <a:lnTo>
                  <a:pt x="149887" y="533400"/>
                </a:lnTo>
                <a:lnTo>
                  <a:pt x="172277" y="495300"/>
                </a:lnTo>
                <a:lnTo>
                  <a:pt x="196461" y="457200"/>
                </a:lnTo>
                <a:lnTo>
                  <a:pt x="222381" y="419100"/>
                </a:lnTo>
                <a:lnTo>
                  <a:pt x="249978" y="381000"/>
                </a:lnTo>
                <a:lnTo>
                  <a:pt x="279193" y="342900"/>
                </a:lnTo>
                <a:lnTo>
                  <a:pt x="309967" y="317500"/>
                </a:lnTo>
                <a:lnTo>
                  <a:pt x="342241" y="279400"/>
                </a:lnTo>
                <a:lnTo>
                  <a:pt x="375957" y="254000"/>
                </a:lnTo>
                <a:lnTo>
                  <a:pt x="411055" y="228600"/>
                </a:lnTo>
                <a:lnTo>
                  <a:pt x="447478" y="203200"/>
                </a:lnTo>
                <a:lnTo>
                  <a:pt x="485166" y="177800"/>
                </a:lnTo>
                <a:lnTo>
                  <a:pt x="524060" y="152400"/>
                </a:lnTo>
                <a:lnTo>
                  <a:pt x="564101" y="127000"/>
                </a:lnTo>
                <a:lnTo>
                  <a:pt x="647392" y="101600"/>
                </a:lnTo>
                <a:lnTo>
                  <a:pt x="779463" y="63500"/>
                </a:lnTo>
                <a:lnTo>
                  <a:pt x="825155" y="50800"/>
                </a:lnTo>
                <a:lnTo>
                  <a:pt x="871583" y="50800"/>
                </a:lnTo>
                <a:lnTo>
                  <a:pt x="918687" y="38100"/>
                </a:lnTo>
                <a:lnTo>
                  <a:pt x="1200621" y="38100"/>
                </a:lnTo>
                <a:lnTo>
                  <a:pt x="1109025" y="12700"/>
                </a:lnTo>
                <a:close/>
              </a:path>
              <a:path w="1932940" h="1930400">
                <a:moveTo>
                  <a:pt x="1200621" y="38100"/>
                </a:moveTo>
                <a:lnTo>
                  <a:pt x="1014133" y="38100"/>
                </a:lnTo>
                <a:lnTo>
                  <a:pt x="1061237" y="50800"/>
                </a:lnTo>
                <a:lnTo>
                  <a:pt x="1107665" y="50800"/>
                </a:lnTo>
                <a:lnTo>
                  <a:pt x="1153356" y="63500"/>
                </a:lnTo>
                <a:lnTo>
                  <a:pt x="1285428" y="101600"/>
                </a:lnTo>
                <a:lnTo>
                  <a:pt x="1368719" y="127000"/>
                </a:lnTo>
                <a:lnTo>
                  <a:pt x="1408760" y="152400"/>
                </a:lnTo>
                <a:lnTo>
                  <a:pt x="1447654" y="177800"/>
                </a:lnTo>
                <a:lnTo>
                  <a:pt x="1485342" y="203200"/>
                </a:lnTo>
                <a:lnTo>
                  <a:pt x="1521764" y="228600"/>
                </a:lnTo>
                <a:lnTo>
                  <a:pt x="1556863" y="254000"/>
                </a:lnTo>
                <a:lnTo>
                  <a:pt x="1590579" y="279400"/>
                </a:lnTo>
                <a:lnTo>
                  <a:pt x="1622853" y="317500"/>
                </a:lnTo>
                <a:lnTo>
                  <a:pt x="1653627" y="342900"/>
                </a:lnTo>
                <a:lnTo>
                  <a:pt x="1682842" y="381000"/>
                </a:lnTo>
                <a:lnTo>
                  <a:pt x="1710439" y="419100"/>
                </a:lnTo>
                <a:lnTo>
                  <a:pt x="1736358" y="457200"/>
                </a:lnTo>
                <a:lnTo>
                  <a:pt x="1760543" y="495300"/>
                </a:lnTo>
                <a:lnTo>
                  <a:pt x="1782932" y="533400"/>
                </a:lnTo>
                <a:lnTo>
                  <a:pt x="1803469" y="571500"/>
                </a:lnTo>
                <a:lnTo>
                  <a:pt x="1822094" y="609600"/>
                </a:lnTo>
                <a:lnTo>
                  <a:pt x="1838747" y="647700"/>
                </a:lnTo>
                <a:lnTo>
                  <a:pt x="1853371" y="698500"/>
                </a:lnTo>
                <a:lnTo>
                  <a:pt x="1865907" y="736600"/>
                </a:lnTo>
                <a:lnTo>
                  <a:pt x="1876295" y="787400"/>
                </a:lnTo>
                <a:lnTo>
                  <a:pt x="1884477" y="825500"/>
                </a:lnTo>
                <a:lnTo>
                  <a:pt x="1890394" y="876300"/>
                </a:lnTo>
                <a:lnTo>
                  <a:pt x="1893987" y="927100"/>
                </a:lnTo>
                <a:lnTo>
                  <a:pt x="1895198" y="965200"/>
                </a:lnTo>
                <a:lnTo>
                  <a:pt x="1893987" y="1016000"/>
                </a:lnTo>
                <a:lnTo>
                  <a:pt x="1890394" y="1066800"/>
                </a:lnTo>
                <a:lnTo>
                  <a:pt x="1884477" y="1117600"/>
                </a:lnTo>
                <a:lnTo>
                  <a:pt x="1876295" y="1155700"/>
                </a:lnTo>
                <a:lnTo>
                  <a:pt x="1865907" y="1206500"/>
                </a:lnTo>
                <a:lnTo>
                  <a:pt x="1853371" y="1244600"/>
                </a:lnTo>
                <a:lnTo>
                  <a:pt x="1838747" y="1295400"/>
                </a:lnTo>
                <a:lnTo>
                  <a:pt x="1822094" y="1333500"/>
                </a:lnTo>
                <a:lnTo>
                  <a:pt x="1803469" y="1371600"/>
                </a:lnTo>
                <a:lnTo>
                  <a:pt x="1782932" y="1409700"/>
                </a:lnTo>
                <a:lnTo>
                  <a:pt x="1760543" y="1447800"/>
                </a:lnTo>
                <a:lnTo>
                  <a:pt x="1736358" y="1485900"/>
                </a:lnTo>
                <a:lnTo>
                  <a:pt x="1710439" y="1524000"/>
                </a:lnTo>
                <a:lnTo>
                  <a:pt x="1682842" y="1562100"/>
                </a:lnTo>
                <a:lnTo>
                  <a:pt x="1653627" y="1600200"/>
                </a:lnTo>
                <a:lnTo>
                  <a:pt x="1622853" y="1625600"/>
                </a:lnTo>
                <a:lnTo>
                  <a:pt x="1590579" y="1663700"/>
                </a:lnTo>
                <a:lnTo>
                  <a:pt x="1556863" y="1689100"/>
                </a:lnTo>
                <a:lnTo>
                  <a:pt x="1521764" y="1714500"/>
                </a:lnTo>
                <a:lnTo>
                  <a:pt x="1485342" y="1739900"/>
                </a:lnTo>
                <a:lnTo>
                  <a:pt x="1447654" y="1765300"/>
                </a:lnTo>
                <a:lnTo>
                  <a:pt x="1408760" y="1790700"/>
                </a:lnTo>
                <a:lnTo>
                  <a:pt x="1368719" y="1803400"/>
                </a:lnTo>
                <a:lnTo>
                  <a:pt x="1327588" y="1828800"/>
                </a:lnTo>
                <a:lnTo>
                  <a:pt x="1242297" y="1854200"/>
                </a:lnTo>
                <a:lnTo>
                  <a:pt x="1107665" y="1892300"/>
                </a:lnTo>
                <a:lnTo>
                  <a:pt x="1014133" y="1892300"/>
                </a:lnTo>
                <a:lnTo>
                  <a:pt x="966410" y="1905000"/>
                </a:lnTo>
                <a:lnTo>
                  <a:pt x="1200621" y="1905000"/>
                </a:lnTo>
                <a:lnTo>
                  <a:pt x="1331679" y="1866900"/>
                </a:lnTo>
                <a:lnTo>
                  <a:pt x="1373452" y="1841500"/>
                </a:lnTo>
                <a:lnTo>
                  <a:pt x="1414175" y="1828800"/>
                </a:lnTo>
                <a:lnTo>
                  <a:pt x="1453794" y="1803400"/>
                </a:lnTo>
                <a:lnTo>
                  <a:pt x="1492251" y="1778000"/>
                </a:lnTo>
                <a:lnTo>
                  <a:pt x="1529491" y="1752600"/>
                </a:lnTo>
                <a:lnTo>
                  <a:pt x="1565458" y="1727200"/>
                </a:lnTo>
                <a:lnTo>
                  <a:pt x="1600097" y="1701800"/>
                </a:lnTo>
                <a:lnTo>
                  <a:pt x="1633352" y="1663700"/>
                </a:lnTo>
                <a:lnTo>
                  <a:pt x="1665167" y="1638300"/>
                </a:lnTo>
                <a:lnTo>
                  <a:pt x="1695485" y="1600200"/>
                </a:lnTo>
                <a:lnTo>
                  <a:pt x="1724252" y="1574800"/>
                </a:lnTo>
                <a:lnTo>
                  <a:pt x="1751412" y="1536700"/>
                </a:lnTo>
                <a:lnTo>
                  <a:pt x="1776908" y="1498600"/>
                </a:lnTo>
                <a:lnTo>
                  <a:pt x="1800686" y="1460500"/>
                </a:lnTo>
                <a:lnTo>
                  <a:pt x="1822688" y="1422400"/>
                </a:lnTo>
                <a:lnTo>
                  <a:pt x="1842860" y="1371600"/>
                </a:lnTo>
                <a:lnTo>
                  <a:pt x="1861145" y="1333500"/>
                </a:lnTo>
                <a:lnTo>
                  <a:pt x="1877489" y="1295400"/>
                </a:lnTo>
                <a:lnTo>
                  <a:pt x="1891834" y="1244600"/>
                </a:lnTo>
                <a:lnTo>
                  <a:pt x="1904125" y="1206500"/>
                </a:lnTo>
                <a:lnTo>
                  <a:pt x="1914306" y="1155700"/>
                </a:lnTo>
                <a:lnTo>
                  <a:pt x="1922322" y="1117600"/>
                </a:lnTo>
                <a:lnTo>
                  <a:pt x="1928117" y="1066800"/>
                </a:lnTo>
                <a:lnTo>
                  <a:pt x="1931635" y="1016000"/>
                </a:lnTo>
                <a:lnTo>
                  <a:pt x="1932820" y="965200"/>
                </a:lnTo>
                <a:lnTo>
                  <a:pt x="1931635" y="927100"/>
                </a:lnTo>
                <a:lnTo>
                  <a:pt x="1928117" y="876300"/>
                </a:lnTo>
                <a:lnTo>
                  <a:pt x="1922322" y="825500"/>
                </a:lnTo>
                <a:lnTo>
                  <a:pt x="1914306" y="787400"/>
                </a:lnTo>
                <a:lnTo>
                  <a:pt x="1904125" y="736600"/>
                </a:lnTo>
                <a:lnTo>
                  <a:pt x="1891834" y="685800"/>
                </a:lnTo>
                <a:lnTo>
                  <a:pt x="1877489" y="647700"/>
                </a:lnTo>
                <a:lnTo>
                  <a:pt x="1861145" y="609600"/>
                </a:lnTo>
                <a:lnTo>
                  <a:pt x="1842860" y="558800"/>
                </a:lnTo>
                <a:lnTo>
                  <a:pt x="1822688" y="520700"/>
                </a:lnTo>
                <a:lnTo>
                  <a:pt x="1800686" y="482600"/>
                </a:lnTo>
                <a:lnTo>
                  <a:pt x="1776908" y="444500"/>
                </a:lnTo>
                <a:lnTo>
                  <a:pt x="1751412" y="406400"/>
                </a:lnTo>
                <a:lnTo>
                  <a:pt x="1724252" y="368300"/>
                </a:lnTo>
                <a:lnTo>
                  <a:pt x="1695485" y="342900"/>
                </a:lnTo>
                <a:lnTo>
                  <a:pt x="1665167" y="304800"/>
                </a:lnTo>
                <a:lnTo>
                  <a:pt x="1633352" y="266700"/>
                </a:lnTo>
                <a:lnTo>
                  <a:pt x="1600097" y="241300"/>
                </a:lnTo>
                <a:lnTo>
                  <a:pt x="1565458" y="215900"/>
                </a:lnTo>
                <a:lnTo>
                  <a:pt x="1529491" y="190500"/>
                </a:lnTo>
                <a:lnTo>
                  <a:pt x="1492251" y="165100"/>
                </a:lnTo>
                <a:lnTo>
                  <a:pt x="1453794" y="139700"/>
                </a:lnTo>
                <a:lnTo>
                  <a:pt x="1414175" y="114300"/>
                </a:lnTo>
                <a:lnTo>
                  <a:pt x="1373452" y="88900"/>
                </a:lnTo>
                <a:lnTo>
                  <a:pt x="1245208" y="50800"/>
                </a:lnTo>
                <a:lnTo>
                  <a:pt x="1200621" y="38100"/>
                </a:lnTo>
                <a:close/>
              </a:path>
              <a:path w="1932940" h="1930400">
                <a:moveTo>
                  <a:pt x="1014570" y="0"/>
                </a:moveTo>
                <a:lnTo>
                  <a:pt x="918250" y="0"/>
                </a:lnTo>
                <a:lnTo>
                  <a:pt x="870693" y="12700"/>
                </a:lnTo>
                <a:lnTo>
                  <a:pt x="1062127" y="12700"/>
                </a:lnTo>
                <a:lnTo>
                  <a:pt x="1014570" y="0"/>
                </a:lnTo>
                <a:close/>
              </a:path>
            </a:pathLst>
          </a:custGeom>
          <a:solidFill>
            <a:srgbClr val="0066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2" name="bg object 2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861206" y="4930625"/>
            <a:ext cx="3615550" cy="4836027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7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54F365-6453-428F-BCEF-2E9FA2875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2347" y="74096"/>
            <a:ext cx="16761437" cy="13418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s-ES" sz="329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Haga clic para modificar el estilo de título del patrón</a:t>
            </a: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E2822421-DE89-4518-9420-7EBB166487E2}"/>
              </a:ext>
            </a:extLst>
          </p:cNvPr>
          <p:cNvGrpSpPr/>
          <p:nvPr userDrawn="1"/>
        </p:nvGrpSpPr>
        <p:grpSpPr>
          <a:xfrm>
            <a:off x="328425" y="451140"/>
            <a:ext cx="1910935" cy="587730"/>
            <a:chOff x="-1276898" y="1766240"/>
            <a:chExt cx="1053522" cy="324000"/>
          </a:xfrm>
          <a:solidFill>
            <a:schemeClr val="tx2"/>
          </a:solidFill>
        </p:grpSpPr>
        <p:sp>
          <p:nvSpPr>
            <p:cNvPr id="11" name="Elipse 10">
              <a:extLst>
                <a:ext uri="{FF2B5EF4-FFF2-40B4-BE49-F238E27FC236}">
                  <a16:creationId xmlns:a16="http://schemas.microsoft.com/office/drawing/2014/main" id="{642ECA7C-8EF0-4685-8E0D-5A2A90C4BC63}"/>
                </a:ext>
              </a:extLst>
            </p:cNvPr>
            <p:cNvSpPr/>
            <p:nvPr/>
          </p:nvSpPr>
          <p:spPr>
            <a:xfrm>
              <a:off x="-1276898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9BAED245-D164-4980-ADD3-599ED072DD0E}"/>
                </a:ext>
              </a:extLst>
            </p:cNvPr>
            <p:cNvSpPr/>
            <p:nvPr/>
          </p:nvSpPr>
          <p:spPr>
            <a:xfrm>
              <a:off x="-912137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5F1C9E51-8BBB-4713-9D8D-14E1E317CF4E}"/>
                </a:ext>
              </a:extLst>
            </p:cNvPr>
            <p:cNvSpPr/>
            <p:nvPr/>
          </p:nvSpPr>
          <p:spPr>
            <a:xfrm>
              <a:off x="-547376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63995385-35C1-4622-8E5F-8B72B12DD1BC}"/>
              </a:ext>
            </a:extLst>
          </p:cNvPr>
          <p:cNvCxnSpPr>
            <a:cxnSpLocks/>
          </p:cNvCxnSpPr>
          <p:nvPr userDrawn="1"/>
        </p:nvCxnSpPr>
        <p:spPr>
          <a:xfrm rot="10800000">
            <a:off x="2566053" y="188308"/>
            <a:ext cx="0" cy="111339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637892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793" b="0" i="0">
                <a:solidFill>
                  <a:srgbClr val="0066FF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7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6177475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2 Marcador de contenido"/>
          <p:cNvSpPr>
            <a:spLocks noGrp="1"/>
          </p:cNvSpPr>
          <p:nvPr>
            <p:ph sz="half" idx="12"/>
          </p:nvPr>
        </p:nvSpPr>
        <p:spPr>
          <a:xfrm>
            <a:off x="613164" y="2623746"/>
            <a:ext cx="18522996" cy="7351681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2968"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  <a:lvl2pPr marL="1759109" indent="-753905">
              <a:buClr>
                <a:schemeClr val="bg1"/>
              </a:buClr>
              <a:buFont typeface="Courier New" panose="02070309020205020404" pitchFamily="49" charset="0"/>
              <a:buChar char="o"/>
              <a:defRPr sz="2968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764314" indent="-753905">
              <a:buClr>
                <a:schemeClr val="bg1"/>
              </a:buClr>
              <a:buFont typeface="Wingdings" panose="05000000000000000000" pitchFamily="2" charset="2"/>
              <a:buChar char="§"/>
              <a:defRPr sz="2638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2638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4398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3958"/>
            </a:lvl6pPr>
            <a:lvl7pPr>
              <a:defRPr sz="3958"/>
            </a:lvl7pPr>
            <a:lvl8pPr>
              <a:defRPr sz="3958"/>
            </a:lvl8pPr>
            <a:lvl9pPr>
              <a:defRPr sz="3958"/>
            </a:lvl9pPr>
          </a:lstStyle>
          <a:p>
            <a:pPr lvl="0"/>
            <a:endParaRPr lang="es-ES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20D6A149-3323-AD45-A0FF-DA3190C58AA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13164" y="1724526"/>
            <a:ext cx="12229993" cy="8992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98" b="0" i="0">
                <a:solidFill>
                  <a:schemeClr val="tx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/>
              <a:t>Escribe aquí el subtítulo</a:t>
            </a:r>
            <a:endParaRPr lang="en-US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9D519E4-86D7-0040-9207-F996F68FD6B8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13165" y="549760"/>
            <a:ext cx="12229991" cy="11674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5936" b="0"/>
              <a:t>Escribe aquí el título</a:t>
            </a:r>
            <a:endParaRPr lang="en-US" sz="5936" b="0"/>
          </a:p>
        </p:txBody>
      </p:sp>
    </p:spTree>
    <p:extLst>
      <p:ext uri="{BB962C8B-B14F-4D97-AF65-F5344CB8AC3E}">
        <p14:creationId xmlns:p14="http://schemas.microsoft.com/office/powerpoint/2010/main" val="144664968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BCFBCED-1FB0-7A9B-F8DE-4532CBE7A5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BCFE32D6-66C6-6549-434B-FA888ED312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DFF9A-BBC4-4721-AB48-227C976752F4}" type="datetimeFigureOut">
              <a:rPr lang="es-ES" smtClean="0"/>
              <a:t>17/09/2024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D2183B1D-FE9E-EB3F-6E22-6ED1D9AF3A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2B1764C1-FEDC-50CF-1722-B8DE51E297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A408D4-A54D-492B-8F80-A461B4732F6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2070280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ndo_Blanco_Titular_Azu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13" y="4245735"/>
            <a:ext cx="15653167" cy="2185952"/>
          </a:xfrm>
          <a:noFill/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4035" y="6922505"/>
            <a:ext cx="15623046" cy="1793264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24A37FC6-CFAA-AA40-9AEC-EDB5AC61EE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9505" y="686334"/>
            <a:ext cx="3289992" cy="936877"/>
          </a:xfrm>
          <a:prstGeom prst="rect">
            <a:avLst/>
          </a:prstGeom>
        </p:spPr>
      </p:pic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5E247BFB-65E8-D848-BCEB-FD300C1A40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4035" y="9811908"/>
            <a:ext cx="15653166" cy="596074"/>
          </a:xfrm>
        </p:spPr>
        <p:txBody>
          <a:bodyPr anchor="b">
            <a:normAutofit/>
          </a:bodyPr>
          <a:lstStyle>
            <a:lvl1pPr>
              <a:defRPr sz="2309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err="1"/>
              <a:t>dd</a:t>
            </a:r>
            <a:r>
              <a:rPr lang="es-ES"/>
              <a:t>/mm/</a:t>
            </a:r>
            <a:r>
              <a:rPr lang="es-ES" err="1"/>
              <a:t>aa</a:t>
            </a:r>
            <a:r>
              <a:rPr lang="es-ES"/>
              <a:t> – Nombre de unidad</a:t>
            </a:r>
          </a:p>
        </p:txBody>
      </p:sp>
    </p:spTree>
    <p:extLst>
      <p:ext uri="{BB962C8B-B14F-4D97-AF65-F5344CB8AC3E}">
        <p14:creationId xmlns:p14="http://schemas.microsoft.com/office/powerpoint/2010/main" val="443208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ndo_Azul_Titular_Blanc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13" y="4245735"/>
            <a:ext cx="15653167" cy="2185952"/>
          </a:xfrm>
          <a:noFill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2801" y="6922505"/>
            <a:ext cx="15623046" cy="179326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10324EC9-24C7-174D-B246-CAB9B044A8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9505" y="686334"/>
            <a:ext cx="3289992" cy="936877"/>
          </a:xfrm>
          <a:prstGeom prst="rect">
            <a:avLst/>
          </a:prstGeom>
        </p:spPr>
      </p:pic>
      <p:sp>
        <p:nvSpPr>
          <p:cNvPr id="7" name="Marcador de texto 7">
            <a:extLst>
              <a:ext uri="{FF2B5EF4-FFF2-40B4-BE49-F238E27FC236}">
                <a16:creationId xmlns:a16="http://schemas.microsoft.com/office/drawing/2014/main" id="{84E505C5-B265-D14E-8273-EC09854089A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4035" y="9811908"/>
            <a:ext cx="15653166" cy="596074"/>
          </a:xfrm>
        </p:spPr>
        <p:txBody>
          <a:bodyPr anchor="b">
            <a:normAutofit/>
          </a:bodyPr>
          <a:lstStyle>
            <a:lvl1pPr>
              <a:defRPr sz="2309">
                <a:solidFill>
                  <a:schemeClr val="bg2"/>
                </a:solidFill>
              </a:defRPr>
            </a:lvl1pPr>
          </a:lstStyle>
          <a:p>
            <a:pPr lvl="0"/>
            <a:r>
              <a:rPr lang="es-ES" err="1"/>
              <a:t>dd</a:t>
            </a:r>
            <a:r>
              <a:rPr lang="es-ES"/>
              <a:t>/mm/</a:t>
            </a:r>
            <a:r>
              <a:rPr lang="es-ES" err="1"/>
              <a:t>aa</a:t>
            </a:r>
            <a:r>
              <a:rPr lang="es-ES"/>
              <a:t> – Nombre de unidad</a:t>
            </a:r>
          </a:p>
        </p:txBody>
      </p:sp>
    </p:spTree>
    <p:extLst>
      <p:ext uri="{BB962C8B-B14F-4D97-AF65-F5344CB8AC3E}">
        <p14:creationId xmlns:p14="http://schemas.microsoft.com/office/powerpoint/2010/main" val="1756087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ondo_Imagen_Titular_Blanco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489" y="4245735"/>
            <a:ext cx="15653167" cy="2185952"/>
          </a:xfrm>
          <a:noFill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2611" y="6922505"/>
            <a:ext cx="15623046" cy="179326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10324EC9-24C7-174D-B246-CAB9B044A86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08081" y="686334"/>
            <a:ext cx="3289992" cy="936877"/>
          </a:xfrm>
          <a:prstGeom prst="rect">
            <a:avLst/>
          </a:prstGeom>
        </p:spPr>
      </p:pic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027CE356-83F6-BE40-AA6F-666A8EACE0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4035" y="9811908"/>
            <a:ext cx="15653166" cy="596074"/>
          </a:xfrm>
        </p:spPr>
        <p:txBody>
          <a:bodyPr anchor="b">
            <a:normAutofit/>
          </a:bodyPr>
          <a:lstStyle>
            <a:lvl1pPr>
              <a:defRPr sz="2309">
                <a:solidFill>
                  <a:schemeClr val="bg2"/>
                </a:solidFill>
              </a:defRPr>
            </a:lvl1pPr>
          </a:lstStyle>
          <a:p>
            <a:pPr lvl="0"/>
            <a:r>
              <a:rPr lang="es-ES" err="1"/>
              <a:t>dd</a:t>
            </a:r>
            <a:r>
              <a:rPr lang="es-ES"/>
              <a:t>/mm/</a:t>
            </a:r>
            <a:r>
              <a:rPr lang="es-ES" err="1"/>
              <a:t>aa</a:t>
            </a:r>
            <a:r>
              <a:rPr lang="es-ES"/>
              <a:t> – Nombre de unidad</a:t>
            </a:r>
          </a:p>
        </p:txBody>
      </p:sp>
    </p:spTree>
    <p:extLst>
      <p:ext uri="{BB962C8B-B14F-4D97-AF65-F5344CB8AC3E}">
        <p14:creationId xmlns:p14="http://schemas.microsoft.com/office/powerpoint/2010/main" val="1479677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ondo_Imagen_Titular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130" y="4245735"/>
            <a:ext cx="15653167" cy="2185952"/>
          </a:xfrm>
          <a:noFill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0252" y="6922505"/>
            <a:ext cx="15623046" cy="179326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:a16="http://schemas.microsoft.com/office/drawing/2014/main" id="{0B9CADD5-CC6B-014B-AB4E-565F39691A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4035" y="9811908"/>
            <a:ext cx="15653166" cy="596074"/>
          </a:xfrm>
        </p:spPr>
        <p:txBody>
          <a:bodyPr anchor="b">
            <a:normAutofit/>
          </a:bodyPr>
          <a:lstStyle>
            <a:lvl1pPr>
              <a:defRPr sz="2309">
                <a:solidFill>
                  <a:schemeClr val="bg2"/>
                </a:solidFill>
              </a:defRPr>
            </a:lvl1pPr>
          </a:lstStyle>
          <a:p>
            <a:pPr lvl="0"/>
            <a:r>
              <a:rPr lang="es-ES" err="1"/>
              <a:t>dd</a:t>
            </a:r>
            <a:r>
              <a:rPr lang="es-ES"/>
              <a:t>/mm/</a:t>
            </a:r>
            <a:r>
              <a:rPr lang="es-ES" err="1"/>
              <a:t>aa</a:t>
            </a:r>
            <a:r>
              <a:rPr lang="es-ES"/>
              <a:t> – Nombre de unidad</a:t>
            </a:r>
          </a:p>
        </p:txBody>
      </p:sp>
    </p:spTree>
    <p:extLst>
      <p:ext uri="{BB962C8B-B14F-4D97-AF65-F5344CB8AC3E}">
        <p14:creationId xmlns:p14="http://schemas.microsoft.com/office/powerpoint/2010/main" val="2105145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1905" y="1005348"/>
            <a:ext cx="18566122" cy="132081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5" name="Marcador de texto 12">
            <a:extLst>
              <a:ext uri="{FF2B5EF4-FFF2-40B4-BE49-F238E27FC236}">
                <a16:creationId xmlns:a16="http://schemas.microsoft.com/office/drawing/2014/main" id="{454ED348-BD25-CF4C-9349-D1A5F55BDC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612" y="2878162"/>
            <a:ext cx="18571730" cy="995381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err="1"/>
              <a:t>Body</a:t>
            </a:r>
            <a:r>
              <a:rPr lang="es-ES"/>
              <a:t> </a:t>
            </a:r>
            <a:r>
              <a:rPr lang="es-ES" err="1"/>
              <a:t>subhead</a:t>
            </a:r>
            <a:r>
              <a:rPr lang="es-ES"/>
              <a:t> (</a:t>
            </a:r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)</a:t>
            </a:r>
          </a:p>
        </p:txBody>
      </p:sp>
      <p:sp>
        <p:nvSpPr>
          <p:cNvPr id="6" name="Marcador de texto 14">
            <a:extLst>
              <a:ext uri="{FF2B5EF4-FFF2-40B4-BE49-F238E27FC236}">
                <a16:creationId xmlns:a16="http://schemas.microsoft.com/office/drawing/2014/main" id="{6E6DC74C-4704-064C-9CF0-4BE6715AD4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1610" y="4059163"/>
            <a:ext cx="18571733" cy="2100281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Lorem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 dolor </a:t>
            </a:r>
            <a:r>
              <a:rPr lang="es-ES" err="1"/>
              <a:t>sit</a:t>
            </a:r>
            <a:r>
              <a:rPr lang="es-ES"/>
              <a:t> </a:t>
            </a:r>
            <a:r>
              <a:rPr lang="es-ES" err="1"/>
              <a:t>amet</a:t>
            </a:r>
            <a:r>
              <a:rPr lang="es-ES"/>
              <a:t>, </a:t>
            </a:r>
            <a:r>
              <a:rPr lang="es-ES" err="1"/>
              <a:t>consectetur</a:t>
            </a:r>
            <a:r>
              <a:rPr lang="es-ES"/>
              <a:t> </a:t>
            </a:r>
            <a:r>
              <a:rPr lang="es-ES" err="1"/>
              <a:t>adipiscing</a:t>
            </a:r>
            <a:r>
              <a:rPr lang="es-ES"/>
              <a:t> </a:t>
            </a:r>
            <a:r>
              <a:rPr lang="es-ES" err="1"/>
              <a:t>elit</a:t>
            </a:r>
            <a:r>
              <a:rPr lang="es-ES"/>
              <a:t>. </a:t>
            </a:r>
            <a:r>
              <a:rPr lang="es-ES" err="1"/>
              <a:t>Aliquam</a:t>
            </a:r>
            <a:r>
              <a:rPr lang="es-ES"/>
              <a:t> </a:t>
            </a:r>
            <a:r>
              <a:rPr lang="es-ES" err="1"/>
              <a:t>euismod</a:t>
            </a:r>
            <a:r>
              <a:rPr lang="es-ES"/>
              <a:t> </a:t>
            </a:r>
            <a:r>
              <a:rPr lang="es-ES" err="1"/>
              <a:t>cursus</a:t>
            </a:r>
            <a:r>
              <a:rPr lang="es-ES"/>
              <a:t> </a:t>
            </a:r>
            <a:r>
              <a:rPr lang="es-ES" err="1"/>
              <a:t>ipsum</a:t>
            </a:r>
            <a:r>
              <a:rPr lang="es-ES"/>
              <a:t>. </a:t>
            </a:r>
            <a:r>
              <a:rPr lang="es-ES" err="1"/>
              <a:t>Hasellus</a:t>
            </a:r>
            <a:r>
              <a:rPr lang="es-ES"/>
              <a:t> </a:t>
            </a:r>
            <a:r>
              <a:rPr lang="es-ES" err="1"/>
              <a:t>erat</a:t>
            </a:r>
            <a:r>
              <a:rPr lang="es-ES"/>
              <a:t> </a:t>
            </a:r>
            <a:r>
              <a:rPr lang="es-ES" err="1"/>
              <a:t>metus</a:t>
            </a:r>
            <a:r>
              <a:rPr lang="es-ES"/>
              <a:t>, </a:t>
            </a:r>
            <a:r>
              <a:rPr lang="es-ES" err="1"/>
              <a:t>faucibus</a:t>
            </a:r>
            <a:r>
              <a:rPr lang="es-ES"/>
              <a:t> </a:t>
            </a:r>
            <a:r>
              <a:rPr lang="es-ES" err="1"/>
              <a:t>quis</a:t>
            </a:r>
            <a:r>
              <a:rPr lang="es-ES"/>
              <a:t> </a:t>
            </a:r>
            <a:r>
              <a:rPr lang="es-ES" err="1"/>
              <a:t>interdum</a:t>
            </a:r>
            <a:r>
              <a:rPr lang="es-ES"/>
              <a:t> id, </a:t>
            </a:r>
            <a:r>
              <a:rPr lang="es-ES" err="1"/>
              <a:t>viverra</a:t>
            </a:r>
            <a:r>
              <a:rPr lang="es-ES"/>
              <a:t> </a:t>
            </a:r>
            <a:r>
              <a:rPr lang="es-ES" err="1"/>
              <a:t>nec</a:t>
            </a:r>
            <a:r>
              <a:rPr lang="es-ES"/>
              <a:t> </a:t>
            </a:r>
            <a:r>
              <a:rPr lang="es-ES" err="1"/>
              <a:t>enim</a:t>
            </a:r>
            <a:r>
              <a:rPr lang="es-ES"/>
              <a:t>:</a:t>
            </a:r>
            <a:br>
              <a:rPr lang="es-ES"/>
            </a:br>
            <a:r>
              <a:rPr lang="es-ES"/>
              <a:t>	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                      •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ext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	</a:t>
            </a:r>
          </a:p>
        </p:txBody>
      </p:sp>
      <p:sp>
        <p:nvSpPr>
          <p:cNvPr id="8" name="Marcador de texto 18">
            <a:extLst>
              <a:ext uri="{FF2B5EF4-FFF2-40B4-BE49-F238E27FC236}">
                <a16:creationId xmlns:a16="http://schemas.microsoft.com/office/drawing/2014/main" id="{F448B499-7374-5448-8658-87428B67CA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7220" y="604676"/>
            <a:ext cx="18566122" cy="327239"/>
          </a:xfrm>
        </p:spPr>
        <p:txBody>
          <a:bodyPr>
            <a:noAutofit/>
          </a:bodyPr>
          <a:lstStyle>
            <a:lvl1pPr marL="0" indent="0">
              <a:buNone/>
              <a:defRPr sz="2144" b="1" cap="all" baseline="0">
                <a:latin typeface="+mn-lt"/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248AD675-FAFD-0C96-86F6-46EDE7A1AE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0760" y="10684202"/>
            <a:ext cx="1662252" cy="333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88239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54F365-6453-428F-BCEF-2E9FA2875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809" y="474945"/>
            <a:ext cx="18455867" cy="13418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s-ES" sz="3298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el estilo de título del patrón</a:t>
            </a: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D49F185A-EA99-44F6-BF6A-4676FFD444B3}"/>
              </a:ext>
            </a:extLst>
          </p:cNvPr>
          <p:cNvSpPr>
            <a:spLocks/>
          </p:cNvSpPr>
          <p:nvPr userDrawn="1"/>
        </p:nvSpPr>
        <p:spPr bwMode="auto">
          <a:xfrm>
            <a:off x="16896883" y="10741563"/>
            <a:ext cx="370293" cy="253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649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Nº›</a:t>
            </a:fld>
            <a:endParaRPr lang="es-ES_tradnl" altLang="es-ES" sz="1649" b="0" i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E58DE4FD-BFF5-43B6-9D8D-756DB2EB38AD}"/>
              </a:ext>
            </a:extLst>
          </p:cNvPr>
          <p:cNvCxnSpPr/>
          <p:nvPr userDrawn="1"/>
        </p:nvCxnSpPr>
        <p:spPr>
          <a:xfrm flipV="1">
            <a:off x="17355130" y="10659672"/>
            <a:ext cx="0" cy="41757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agen 5">
            <a:extLst>
              <a:ext uri="{FF2B5EF4-FFF2-40B4-BE49-F238E27FC236}">
                <a16:creationId xmlns:a16="http://schemas.microsoft.com/office/drawing/2014/main" id="{28048266-8166-4080-9229-EA00EDEA61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2F4FF"/>
              </a:clrFrom>
              <a:clrTo>
                <a:srgbClr val="F2F4FF">
                  <a:alpha val="0"/>
                </a:srgbClr>
              </a:clrTo>
            </a:clrChange>
          </a:blip>
          <a:srcRect r="68980" b="89173"/>
          <a:stretch/>
        </p:blipFill>
        <p:spPr>
          <a:xfrm>
            <a:off x="17137764" y="10497733"/>
            <a:ext cx="3346996" cy="600472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0975722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ndo_Azul_Logo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00DCAC73-46A0-4F44-878E-B326B1156B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72004" y="3874500"/>
            <a:ext cx="3560099" cy="276999"/>
          </a:xfrm>
        </p:spPr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66174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54F365-6453-428F-BCEF-2E9FA2875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2347" y="74096"/>
            <a:ext cx="16761437" cy="13418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s-ES" sz="329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Haga clic para modificar el estilo de título del patrón</a:t>
            </a: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E2822421-DE89-4518-9420-7EBB166487E2}"/>
              </a:ext>
            </a:extLst>
          </p:cNvPr>
          <p:cNvGrpSpPr/>
          <p:nvPr userDrawn="1"/>
        </p:nvGrpSpPr>
        <p:grpSpPr>
          <a:xfrm>
            <a:off x="328425" y="451140"/>
            <a:ext cx="1910935" cy="587730"/>
            <a:chOff x="-1276898" y="1766240"/>
            <a:chExt cx="1053522" cy="324000"/>
          </a:xfrm>
          <a:solidFill>
            <a:schemeClr val="tx2"/>
          </a:solidFill>
        </p:grpSpPr>
        <p:sp>
          <p:nvSpPr>
            <p:cNvPr id="11" name="Elipse 10">
              <a:extLst>
                <a:ext uri="{FF2B5EF4-FFF2-40B4-BE49-F238E27FC236}">
                  <a16:creationId xmlns:a16="http://schemas.microsoft.com/office/drawing/2014/main" id="{642ECA7C-8EF0-4685-8E0D-5A2A90C4BC63}"/>
                </a:ext>
              </a:extLst>
            </p:cNvPr>
            <p:cNvSpPr/>
            <p:nvPr/>
          </p:nvSpPr>
          <p:spPr>
            <a:xfrm>
              <a:off x="-1276898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9BAED245-D164-4980-ADD3-599ED072DD0E}"/>
                </a:ext>
              </a:extLst>
            </p:cNvPr>
            <p:cNvSpPr/>
            <p:nvPr/>
          </p:nvSpPr>
          <p:spPr>
            <a:xfrm>
              <a:off x="-912137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5F1C9E51-8BBB-4713-9D8D-14E1E317CF4E}"/>
                </a:ext>
              </a:extLst>
            </p:cNvPr>
            <p:cNvSpPr/>
            <p:nvPr/>
          </p:nvSpPr>
          <p:spPr>
            <a:xfrm>
              <a:off x="-547376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63995385-35C1-4622-8E5F-8B72B12DD1BC}"/>
              </a:ext>
            </a:extLst>
          </p:cNvPr>
          <p:cNvCxnSpPr>
            <a:cxnSpLocks/>
          </p:cNvCxnSpPr>
          <p:nvPr userDrawn="1"/>
        </p:nvCxnSpPr>
        <p:spPr>
          <a:xfrm rot="10800000">
            <a:off x="2566053" y="188308"/>
            <a:ext cx="0" cy="111339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983274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9C55805-7954-B24C-8EC6-5DE3A100F7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4" name="Título 10">
            <a:extLst>
              <a:ext uri="{FF2B5EF4-FFF2-40B4-BE49-F238E27FC236}">
                <a16:creationId xmlns:a16="http://schemas.microsoft.com/office/drawing/2014/main" id="{49156FD3-0196-4F4F-9FDD-822A7DDF53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74822" y="667431"/>
            <a:ext cx="18566122" cy="1320816"/>
          </a:xfrm>
        </p:spPr>
        <p:txBody>
          <a:bodyPr/>
          <a:lstStyle/>
          <a:p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Her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216AC29C-9883-4B4A-71B0-A040394FF3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053472" y="10641919"/>
            <a:ext cx="1662252" cy="333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88463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2 Marcador de contenido"/>
          <p:cNvSpPr>
            <a:spLocks noGrp="1"/>
          </p:cNvSpPr>
          <p:nvPr>
            <p:ph sz="half" idx="12"/>
          </p:nvPr>
        </p:nvSpPr>
        <p:spPr>
          <a:xfrm>
            <a:off x="613164" y="2623746"/>
            <a:ext cx="18522996" cy="7351681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2968"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  <a:lvl2pPr marL="1759109" indent="-753905">
              <a:buClr>
                <a:schemeClr val="bg1"/>
              </a:buClr>
              <a:buFont typeface="Courier New" panose="02070309020205020404" pitchFamily="49" charset="0"/>
              <a:buChar char="o"/>
              <a:defRPr sz="2968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764314" indent="-753905">
              <a:buClr>
                <a:schemeClr val="bg1"/>
              </a:buClr>
              <a:buFont typeface="Wingdings" panose="05000000000000000000" pitchFamily="2" charset="2"/>
              <a:buChar char="§"/>
              <a:defRPr sz="2638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2638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4398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3958"/>
            </a:lvl6pPr>
            <a:lvl7pPr>
              <a:defRPr sz="3958"/>
            </a:lvl7pPr>
            <a:lvl8pPr>
              <a:defRPr sz="3958"/>
            </a:lvl8pPr>
            <a:lvl9pPr>
              <a:defRPr sz="3958"/>
            </a:lvl9pPr>
          </a:lstStyle>
          <a:p>
            <a:pPr lvl="0"/>
            <a:endParaRPr lang="es-ES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20D6A149-3323-AD45-A0FF-DA3190C58AA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13164" y="1724526"/>
            <a:ext cx="12229993" cy="8992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98" b="0" i="0">
                <a:solidFill>
                  <a:schemeClr val="tx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/>
              <a:t>Escribe aquí el subtítulo</a:t>
            </a:r>
            <a:endParaRPr lang="en-US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9D519E4-86D7-0040-9207-F996F68FD6B8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13165" y="549760"/>
            <a:ext cx="12229991" cy="11674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5936" b="0"/>
              <a:t>Escribe aquí el título</a:t>
            </a:r>
            <a:endParaRPr lang="en-US" sz="5936" b="0"/>
          </a:p>
        </p:txBody>
      </p:sp>
    </p:spTree>
    <p:extLst>
      <p:ext uri="{BB962C8B-B14F-4D97-AF65-F5344CB8AC3E}">
        <p14:creationId xmlns:p14="http://schemas.microsoft.com/office/powerpoint/2010/main" val="23207278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D7D166-A009-8AA9-C058-832B9C9B41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13013" y="1850860"/>
            <a:ext cx="15078075" cy="3937329"/>
          </a:xfrm>
        </p:spPr>
        <p:txBody>
          <a:bodyPr anchor="b"/>
          <a:lstStyle>
            <a:lvl1pPr algn="ctr">
              <a:defRPr sz="9894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8D6809B-2FCA-8777-5C1F-9CC43372AA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3013" y="5940028"/>
            <a:ext cx="15078075" cy="2730474"/>
          </a:xfrm>
        </p:spPr>
        <p:txBody>
          <a:bodyPr/>
          <a:lstStyle>
            <a:lvl1pPr marL="0" indent="0" algn="ctr">
              <a:buNone/>
              <a:defRPr sz="3958"/>
            </a:lvl1pPr>
            <a:lvl2pPr marL="753923" indent="0" algn="ctr">
              <a:buNone/>
              <a:defRPr sz="3298"/>
            </a:lvl2pPr>
            <a:lvl3pPr marL="1507846" indent="0" algn="ctr">
              <a:buNone/>
              <a:defRPr sz="2968"/>
            </a:lvl3pPr>
            <a:lvl4pPr marL="2261768" indent="0" algn="ctr">
              <a:buNone/>
              <a:defRPr sz="2638"/>
            </a:lvl4pPr>
            <a:lvl5pPr marL="3015691" indent="0" algn="ctr">
              <a:buNone/>
              <a:defRPr sz="2638"/>
            </a:lvl5pPr>
            <a:lvl6pPr marL="3769614" indent="0" algn="ctr">
              <a:buNone/>
              <a:defRPr sz="2638"/>
            </a:lvl6pPr>
            <a:lvl7pPr marL="4523537" indent="0" algn="ctr">
              <a:buNone/>
              <a:defRPr sz="2638"/>
            </a:lvl7pPr>
            <a:lvl8pPr marL="5277460" indent="0" algn="ctr">
              <a:buNone/>
              <a:defRPr sz="2638"/>
            </a:lvl8pPr>
            <a:lvl9pPr marL="6031382" indent="0" algn="ctr">
              <a:buNone/>
              <a:defRPr sz="2638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820F0C9-5BD3-5170-DE0E-88DDC10E44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C4CE93-92CD-4099-8D57-9059FC51A1D4}" type="datetimeFigureOut">
              <a:rPr lang="es-ES" smtClean="0"/>
              <a:t>17/09/2024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26C863E-504E-30BC-18E5-6C62CEAD98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E7946BA-E992-F5F5-826E-5AD011B4D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FCB75C-6C5C-4B93-BD12-03C0F722E25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280491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38F847B-B1D5-6E4F-BAF3-178C29398D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7788" y="3088190"/>
            <a:ext cx="4891889" cy="548508"/>
          </a:xfrm>
        </p:spPr>
        <p:txBody>
          <a:bodyPr numCol="1">
            <a:normAutofit/>
          </a:bodyPr>
          <a:lstStyle>
            <a:lvl1pPr algn="just">
              <a:defRPr sz="2968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5" name="Marcador de texto 3">
            <a:extLst>
              <a:ext uri="{FF2B5EF4-FFF2-40B4-BE49-F238E27FC236}">
                <a16:creationId xmlns:a16="http://schemas.microsoft.com/office/drawing/2014/main" id="{0E77A328-002E-C148-B1FB-AB2185096C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3741" y="2751409"/>
            <a:ext cx="5934834" cy="506826"/>
          </a:xfrm>
        </p:spPr>
        <p:txBody>
          <a:bodyPr numCol="1">
            <a:noAutofit/>
          </a:bodyPr>
          <a:lstStyle>
            <a:lvl1pPr algn="just">
              <a:defRPr sz="1649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649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16" name="Marcador de texto 15">
            <a:extLst>
              <a:ext uri="{FF2B5EF4-FFF2-40B4-BE49-F238E27FC236}">
                <a16:creationId xmlns:a16="http://schemas.microsoft.com/office/drawing/2014/main" id="{6FF4BFE9-A3A9-7749-B879-E60B1A2B8D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83396" y="2559441"/>
            <a:ext cx="1203557" cy="690899"/>
          </a:xfrm>
        </p:spPr>
        <p:txBody>
          <a:bodyPr>
            <a:normAutofit/>
          </a:bodyPr>
          <a:lstStyle>
            <a:lvl1pPr algn="just">
              <a:defRPr sz="3298"/>
            </a:lvl1pPr>
            <a:lvl2pPr>
              <a:defRPr sz="3298">
                <a:solidFill>
                  <a:schemeClr val="tx1"/>
                </a:solidFill>
              </a:defRPr>
            </a:lvl2pPr>
            <a:lvl3pPr>
              <a:defRPr sz="3298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23" name="Marcador de texto 3">
            <a:extLst>
              <a:ext uri="{FF2B5EF4-FFF2-40B4-BE49-F238E27FC236}">
                <a16:creationId xmlns:a16="http://schemas.microsoft.com/office/drawing/2014/main" id="{A5E3CCB4-43EF-DB40-B50F-80B1F61C6F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7788" y="4280310"/>
            <a:ext cx="4903755" cy="528302"/>
          </a:xfrm>
        </p:spPr>
        <p:txBody>
          <a:bodyPr numCol="1">
            <a:normAutofit/>
          </a:bodyPr>
          <a:lstStyle>
            <a:lvl1pPr algn="just">
              <a:defRPr sz="2968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4" name="Marcador de texto 3">
            <a:extLst>
              <a:ext uri="{FF2B5EF4-FFF2-40B4-BE49-F238E27FC236}">
                <a16:creationId xmlns:a16="http://schemas.microsoft.com/office/drawing/2014/main" id="{5C2665B6-DB56-C84D-93D8-D2148DCE3E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83741" y="3943529"/>
            <a:ext cx="5934834" cy="513688"/>
          </a:xfrm>
        </p:spPr>
        <p:txBody>
          <a:bodyPr numCol="1">
            <a:noAutofit/>
          </a:bodyPr>
          <a:lstStyle>
            <a:lvl1pPr algn="just">
              <a:defRPr sz="1649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649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25" name="Marcador de texto 15">
            <a:extLst>
              <a:ext uri="{FF2B5EF4-FFF2-40B4-BE49-F238E27FC236}">
                <a16:creationId xmlns:a16="http://schemas.microsoft.com/office/drawing/2014/main" id="{DD88DE94-DE9B-9548-BFC2-D597A4F56D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83396" y="3751561"/>
            <a:ext cx="1203557" cy="690899"/>
          </a:xfrm>
        </p:spPr>
        <p:txBody>
          <a:bodyPr>
            <a:normAutofit/>
          </a:bodyPr>
          <a:lstStyle>
            <a:lvl1pPr algn="just">
              <a:defRPr sz="3298"/>
            </a:lvl1pPr>
            <a:lvl2pPr>
              <a:defRPr sz="3298">
                <a:solidFill>
                  <a:schemeClr val="tx1"/>
                </a:solidFill>
              </a:defRPr>
            </a:lvl2pPr>
            <a:lvl3pPr>
              <a:defRPr sz="3298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27" name="Marcador de texto 3">
            <a:extLst>
              <a:ext uri="{FF2B5EF4-FFF2-40B4-BE49-F238E27FC236}">
                <a16:creationId xmlns:a16="http://schemas.microsoft.com/office/drawing/2014/main" id="{2238F629-2A35-E441-ACA7-961CE41BCB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7787" y="5464536"/>
            <a:ext cx="4894832" cy="527969"/>
          </a:xfrm>
        </p:spPr>
        <p:txBody>
          <a:bodyPr numCol="1">
            <a:normAutofit/>
          </a:bodyPr>
          <a:lstStyle>
            <a:lvl1pPr algn="just">
              <a:defRPr sz="2968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8" name="Marcador de texto 3">
            <a:extLst>
              <a:ext uri="{FF2B5EF4-FFF2-40B4-BE49-F238E27FC236}">
                <a16:creationId xmlns:a16="http://schemas.microsoft.com/office/drawing/2014/main" id="{4799B269-59E4-0B4F-81BF-633D66B8F27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83741" y="5127755"/>
            <a:ext cx="5934834" cy="511591"/>
          </a:xfrm>
        </p:spPr>
        <p:txBody>
          <a:bodyPr numCol="1">
            <a:noAutofit/>
          </a:bodyPr>
          <a:lstStyle>
            <a:lvl1pPr algn="just">
              <a:defRPr sz="1649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649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29" name="Marcador de texto 15">
            <a:extLst>
              <a:ext uri="{FF2B5EF4-FFF2-40B4-BE49-F238E27FC236}">
                <a16:creationId xmlns:a16="http://schemas.microsoft.com/office/drawing/2014/main" id="{BD215A62-CE58-5A40-8F34-663CF9B6DF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83396" y="4935788"/>
            <a:ext cx="1203557" cy="690899"/>
          </a:xfrm>
        </p:spPr>
        <p:txBody>
          <a:bodyPr>
            <a:normAutofit/>
          </a:bodyPr>
          <a:lstStyle>
            <a:lvl1pPr algn="just">
              <a:defRPr sz="3298"/>
            </a:lvl1pPr>
            <a:lvl2pPr>
              <a:defRPr sz="3298">
                <a:solidFill>
                  <a:schemeClr val="tx1"/>
                </a:solidFill>
              </a:defRPr>
            </a:lvl2pPr>
            <a:lvl3pPr>
              <a:defRPr sz="3298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31" name="Marcador de texto 3">
            <a:extLst>
              <a:ext uri="{FF2B5EF4-FFF2-40B4-BE49-F238E27FC236}">
                <a16:creationId xmlns:a16="http://schemas.microsoft.com/office/drawing/2014/main" id="{B497BDA8-8421-3B42-81A4-19F74C79275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7788" y="6664550"/>
            <a:ext cx="4894831" cy="582465"/>
          </a:xfrm>
        </p:spPr>
        <p:txBody>
          <a:bodyPr numCol="1">
            <a:normAutofit/>
          </a:bodyPr>
          <a:lstStyle>
            <a:lvl1pPr algn="just">
              <a:defRPr sz="2968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32" name="Marcador de texto 3">
            <a:extLst>
              <a:ext uri="{FF2B5EF4-FFF2-40B4-BE49-F238E27FC236}">
                <a16:creationId xmlns:a16="http://schemas.microsoft.com/office/drawing/2014/main" id="{1546160F-867A-244D-8E88-CD46998AE6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83741" y="6327770"/>
            <a:ext cx="5934834" cy="498932"/>
          </a:xfrm>
        </p:spPr>
        <p:txBody>
          <a:bodyPr numCol="1">
            <a:noAutofit/>
          </a:bodyPr>
          <a:lstStyle>
            <a:lvl1pPr algn="just">
              <a:defRPr sz="1649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649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33" name="Marcador de texto 15">
            <a:extLst>
              <a:ext uri="{FF2B5EF4-FFF2-40B4-BE49-F238E27FC236}">
                <a16:creationId xmlns:a16="http://schemas.microsoft.com/office/drawing/2014/main" id="{EF575985-D360-5E41-8BDC-2D3954DA68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83396" y="6135802"/>
            <a:ext cx="1203557" cy="690899"/>
          </a:xfrm>
        </p:spPr>
        <p:txBody>
          <a:bodyPr>
            <a:normAutofit/>
          </a:bodyPr>
          <a:lstStyle>
            <a:lvl1pPr algn="just">
              <a:defRPr sz="3298"/>
            </a:lvl1pPr>
            <a:lvl2pPr>
              <a:defRPr sz="3298">
                <a:solidFill>
                  <a:schemeClr val="tx1"/>
                </a:solidFill>
              </a:defRPr>
            </a:lvl2pPr>
            <a:lvl3pPr>
              <a:defRPr sz="3298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35" name="Marcador de texto 3">
            <a:extLst>
              <a:ext uri="{FF2B5EF4-FFF2-40B4-BE49-F238E27FC236}">
                <a16:creationId xmlns:a16="http://schemas.microsoft.com/office/drawing/2014/main" id="{619D7DE5-779D-9A4B-9FD8-5B4C17758E4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7788" y="7840882"/>
            <a:ext cx="4905331" cy="591965"/>
          </a:xfrm>
        </p:spPr>
        <p:txBody>
          <a:bodyPr numCol="1">
            <a:normAutofit/>
          </a:bodyPr>
          <a:lstStyle>
            <a:lvl1pPr algn="just">
              <a:defRPr sz="2968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36" name="Marcador de texto 3">
            <a:extLst>
              <a:ext uri="{FF2B5EF4-FFF2-40B4-BE49-F238E27FC236}">
                <a16:creationId xmlns:a16="http://schemas.microsoft.com/office/drawing/2014/main" id="{354F9FAF-4483-154B-863B-3F4E682EA9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83741" y="7504102"/>
            <a:ext cx="5934834" cy="498931"/>
          </a:xfrm>
        </p:spPr>
        <p:txBody>
          <a:bodyPr numCol="1">
            <a:noAutofit/>
          </a:bodyPr>
          <a:lstStyle>
            <a:lvl1pPr algn="just">
              <a:defRPr sz="1649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649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37" name="Marcador de texto 15">
            <a:extLst>
              <a:ext uri="{FF2B5EF4-FFF2-40B4-BE49-F238E27FC236}">
                <a16:creationId xmlns:a16="http://schemas.microsoft.com/office/drawing/2014/main" id="{3C9D978E-0D85-CF4B-ACA3-2FE2F3B2D1E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883396" y="7312133"/>
            <a:ext cx="1203557" cy="690899"/>
          </a:xfrm>
        </p:spPr>
        <p:txBody>
          <a:bodyPr>
            <a:normAutofit/>
          </a:bodyPr>
          <a:lstStyle>
            <a:lvl1pPr algn="just">
              <a:defRPr sz="3298"/>
            </a:lvl1pPr>
            <a:lvl2pPr>
              <a:defRPr sz="3298">
                <a:solidFill>
                  <a:schemeClr val="tx1"/>
                </a:solidFill>
              </a:defRPr>
            </a:lvl2pPr>
            <a:lvl3pPr>
              <a:defRPr sz="3298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79" name="Marcador de texto 78">
            <a:extLst>
              <a:ext uri="{FF2B5EF4-FFF2-40B4-BE49-F238E27FC236}">
                <a16:creationId xmlns:a16="http://schemas.microsoft.com/office/drawing/2014/main" id="{879DB0AB-F334-5B4C-8040-3E8C91CD21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90368" y="614510"/>
            <a:ext cx="4911175" cy="563269"/>
          </a:xfrm>
        </p:spPr>
        <p:txBody>
          <a:bodyPr>
            <a:normAutofit/>
          </a:bodyPr>
          <a:lstStyle>
            <a:lvl1pPr>
              <a:defRPr sz="2144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84" name="Marcador de texto 83">
            <a:extLst>
              <a:ext uri="{FF2B5EF4-FFF2-40B4-BE49-F238E27FC236}">
                <a16:creationId xmlns:a16="http://schemas.microsoft.com/office/drawing/2014/main" id="{FFB93D1C-610E-6E41-AAF3-2570F640128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4346" y="3753108"/>
            <a:ext cx="4917197" cy="596510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5" name="Marcador de texto 83">
            <a:extLst>
              <a:ext uri="{FF2B5EF4-FFF2-40B4-BE49-F238E27FC236}">
                <a16:creationId xmlns:a16="http://schemas.microsoft.com/office/drawing/2014/main" id="{74986D2B-5EDB-7A46-BCB2-9666E8491ED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84346" y="4931622"/>
            <a:ext cx="4917197" cy="596510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6" name="Marcador de texto 83">
            <a:extLst>
              <a:ext uri="{FF2B5EF4-FFF2-40B4-BE49-F238E27FC236}">
                <a16:creationId xmlns:a16="http://schemas.microsoft.com/office/drawing/2014/main" id="{547051A1-13A5-9141-B86E-40BE492F2C0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84346" y="6124776"/>
            <a:ext cx="4917197" cy="591965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7" name="Marcador de texto 83">
            <a:extLst>
              <a:ext uri="{FF2B5EF4-FFF2-40B4-BE49-F238E27FC236}">
                <a16:creationId xmlns:a16="http://schemas.microsoft.com/office/drawing/2014/main" id="{BBFDF298-028C-DD47-95FB-C8F8D40599D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84346" y="7310609"/>
            <a:ext cx="4932216" cy="591965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8" name="Marcador de texto 83">
            <a:extLst>
              <a:ext uri="{FF2B5EF4-FFF2-40B4-BE49-F238E27FC236}">
                <a16:creationId xmlns:a16="http://schemas.microsoft.com/office/drawing/2014/main" id="{0B90359A-FFF6-0145-9E7E-4AA8EA318B2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84346" y="2559953"/>
            <a:ext cx="4905331" cy="596510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9" name="Marcador de texto 3">
            <a:extLst>
              <a:ext uri="{FF2B5EF4-FFF2-40B4-BE49-F238E27FC236}">
                <a16:creationId xmlns:a16="http://schemas.microsoft.com/office/drawing/2014/main" id="{24F72723-FC1D-4A40-A3CE-0C68981C8F1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205895" y="3088190"/>
            <a:ext cx="4905331" cy="548508"/>
          </a:xfrm>
        </p:spPr>
        <p:txBody>
          <a:bodyPr numCol="1">
            <a:normAutofit/>
          </a:bodyPr>
          <a:lstStyle>
            <a:lvl1pPr algn="just">
              <a:defRPr sz="2968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90" name="Marcador de texto 3">
            <a:extLst>
              <a:ext uri="{FF2B5EF4-FFF2-40B4-BE49-F238E27FC236}">
                <a16:creationId xmlns:a16="http://schemas.microsoft.com/office/drawing/2014/main" id="{D3C329BC-37ED-3642-B6E7-18E8C2DA4A8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2791848" y="2751409"/>
            <a:ext cx="5934834" cy="491038"/>
          </a:xfrm>
        </p:spPr>
        <p:txBody>
          <a:bodyPr numCol="1">
            <a:noAutofit/>
          </a:bodyPr>
          <a:lstStyle>
            <a:lvl1pPr algn="just">
              <a:defRPr sz="1649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649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91" name="Marcador de texto 15">
            <a:extLst>
              <a:ext uri="{FF2B5EF4-FFF2-40B4-BE49-F238E27FC236}">
                <a16:creationId xmlns:a16="http://schemas.microsoft.com/office/drawing/2014/main" id="{B3ECF550-48B2-2843-A029-DE80F2570CE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8391502" y="2559441"/>
            <a:ext cx="1203557" cy="690899"/>
          </a:xfrm>
        </p:spPr>
        <p:txBody>
          <a:bodyPr>
            <a:normAutofit/>
          </a:bodyPr>
          <a:lstStyle>
            <a:lvl1pPr algn="just">
              <a:defRPr sz="3298"/>
            </a:lvl1pPr>
            <a:lvl2pPr>
              <a:defRPr sz="3298">
                <a:solidFill>
                  <a:schemeClr val="tx1"/>
                </a:solidFill>
              </a:defRPr>
            </a:lvl2pPr>
            <a:lvl3pPr>
              <a:defRPr sz="3298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92" name="Marcador de texto 3">
            <a:extLst>
              <a:ext uri="{FF2B5EF4-FFF2-40B4-BE49-F238E27FC236}">
                <a16:creationId xmlns:a16="http://schemas.microsoft.com/office/drawing/2014/main" id="{29CFFEB6-D481-4C48-BFC9-24B890AD222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205895" y="4280310"/>
            <a:ext cx="4905331" cy="528302"/>
          </a:xfrm>
        </p:spPr>
        <p:txBody>
          <a:bodyPr numCol="1">
            <a:normAutofit/>
          </a:bodyPr>
          <a:lstStyle>
            <a:lvl1pPr algn="just">
              <a:defRPr sz="2968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93" name="Marcador de texto 3">
            <a:extLst>
              <a:ext uri="{FF2B5EF4-FFF2-40B4-BE49-F238E27FC236}">
                <a16:creationId xmlns:a16="http://schemas.microsoft.com/office/drawing/2014/main" id="{DCF22A84-AB91-C041-B8E7-7AD902FD02E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2791848" y="3943529"/>
            <a:ext cx="5934834" cy="513688"/>
          </a:xfrm>
        </p:spPr>
        <p:txBody>
          <a:bodyPr numCol="1">
            <a:noAutofit/>
          </a:bodyPr>
          <a:lstStyle>
            <a:lvl1pPr algn="just">
              <a:defRPr sz="1649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649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94" name="Marcador de texto 15">
            <a:extLst>
              <a:ext uri="{FF2B5EF4-FFF2-40B4-BE49-F238E27FC236}">
                <a16:creationId xmlns:a16="http://schemas.microsoft.com/office/drawing/2014/main" id="{8F9EFB6F-1C56-FF4E-983B-DD5BF775159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8391502" y="3751561"/>
            <a:ext cx="1203557" cy="690899"/>
          </a:xfrm>
        </p:spPr>
        <p:txBody>
          <a:bodyPr>
            <a:normAutofit/>
          </a:bodyPr>
          <a:lstStyle>
            <a:lvl1pPr algn="just">
              <a:defRPr sz="3298"/>
            </a:lvl1pPr>
            <a:lvl2pPr>
              <a:defRPr sz="3298">
                <a:solidFill>
                  <a:schemeClr val="tx1"/>
                </a:solidFill>
              </a:defRPr>
            </a:lvl2pPr>
            <a:lvl3pPr>
              <a:defRPr sz="3298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95" name="Marcador de texto 3">
            <a:extLst>
              <a:ext uri="{FF2B5EF4-FFF2-40B4-BE49-F238E27FC236}">
                <a16:creationId xmlns:a16="http://schemas.microsoft.com/office/drawing/2014/main" id="{7A380FF4-DE32-0B49-BA56-808050E0D48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205894" y="5464536"/>
            <a:ext cx="4894832" cy="544091"/>
          </a:xfrm>
        </p:spPr>
        <p:txBody>
          <a:bodyPr numCol="1">
            <a:normAutofit/>
          </a:bodyPr>
          <a:lstStyle>
            <a:lvl1pPr algn="just">
              <a:defRPr sz="2968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96" name="Marcador de texto 3">
            <a:extLst>
              <a:ext uri="{FF2B5EF4-FFF2-40B4-BE49-F238E27FC236}">
                <a16:creationId xmlns:a16="http://schemas.microsoft.com/office/drawing/2014/main" id="{F90E99F0-5358-DD48-8D52-BBC6648DD9D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2791848" y="5127755"/>
            <a:ext cx="5934834" cy="509899"/>
          </a:xfrm>
        </p:spPr>
        <p:txBody>
          <a:bodyPr numCol="1">
            <a:noAutofit/>
          </a:bodyPr>
          <a:lstStyle>
            <a:lvl1pPr algn="just">
              <a:defRPr sz="1649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649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97" name="Marcador de texto 15">
            <a:extLst>
              <a:ext uri="{FF2B5EF4-FFF2-40B4-BE49-F238E27FC236}">
                <a16:creationId xmlns:a16="http://schemas.microsoft.com/office/drawing/2014/main" id="{8865AF38-3DF9-C748-9434-4121CA979ED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8391502" y="4935788"/>
            <a:ext cx="1203557" cy="690899"/>
          </a:xfrm>
        </p:spPr>
        <p:txBody>
          <a:bodyPr>
            <a:normAutofit/>
          </a:bodyPr>
          <a:lstStyle>
            <a:lvl1pPr algn="just">
              <a:defRPr sz="3298"/>
            </a:lvl1pPr>
            <a:lvl2pPr>
              <a:defRPr sz="3298">
                <a:solidFill>
                  <a:schemeClr val="tx1"/>
                </a:solidFill>
              </a:defRPr>
            </a:lvl2pPr>
            <a:lvl3pPr>
              <a:defRPr sz="3298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98" name="Marcador de texto 3">
            <a:extLst>
              <a:ext uri="{FF2B5EF4-FFF2-40B4-BE49-F238E27FC236}">
                <a16:creationId xmlns:a16="http://schemas.microsoft.com/office/drawing/2014/main" id="{12D15972-AEAA-2F46-9AE7-22657A557DC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205894" y="6664550"/>
            <a:ext cx="4894831" cy="529909"/>
          </a:xfrm>
        </p:spPr>
        <p:txBody>
          <a:bodyPr numCol="1">
            <a:normAutofit/>
          </a:bodyPr>
          <a:lstStyle>
            <a:lvl1pPr algn="just">
              <a:defRPr sz="2968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99" name="Marcador de texto 3">
            <a:extLst>
              <a:ext uri="{FF2B5EF4-FFF2-40B4-BE49-F238E27FC236}">
                <a16:creationId xmlns:a16="http://schemas.microsoft.com/office/drawing/2014/main" id="{A4760ED4-46A2-A445-B4CE-F9805FA9277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2791848" y="6327770"/>
            <a:ext cx="5934834" cy="498932"/>
          </a:xfrm>
        </p:spPr>
        <p:txBody>
          <a:bodyPr numCol="1">
            <a:noAutofit/>
          </a:bodyPr>
          <a:lstStyle>
            <a:lvl1pPr algn="just">
              <a:defRPr sz="1649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649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100" name="Marcador de texto 15">
            <a:extLst>
              <a:ext uri="{FF2B5EF4-FFF2-40B4-BE49-F238E27FC236}">
                <a16:creationId xmlns:a16="http://schemas.microsoft.com/office/drawing/2014/main" id="{FEB0E95D-338A-3346-BB70-C8F6FA0DD87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8391502" y="6135802"/>
            <a:ext cx="1203557" cy="690899"/>
          </a:xfrm>
        </p:spPr>
        <p:txBody>
          <a:bodyPr>
            <a:normAutofit/>
          </a:bodyPr>
          <a:lstStyle>
            <a:lvl1pPr algn="just">
              <a:defRPr sz="3298"/>
            </a:lvl1pPr>
            <a:lvl2pPr>
              <a:defRPr sz="3298">
                <a:solidFill>
                  <a:schemeClr val="tx1"/>
                </a:solidFill>
              </a:defRPr>
            </a:lvl2pPr>
            <a:lvl3pPr>
              <a:defRPr sz="3298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101" name="Marcador de texto 3">
            <a:extLst>
              <a:ext uri="{FF2B5EF4-FFF2-40B4-BE49-F238E27FC236}">
                <a16:creationId xmlns:a16="http://schemas.microsoft.com/office/drawing/2014/main" id="{A3F81034-DEB8-AF47-B75A-EC44FCFFBB4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205895" y="7840882"/>
            <a:ext cx="4905331" cy="530748"/>
          </a:xfrm>
        </p:spPr>
        <p:txBody>
          <a:bodyPr numCol="1">
            <a:normAutofit/>
          </a:bodyPr>
          <a:lstStyle>
            <a:lvl1pPr algn="just">
              <a:defRPr sz="2968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02" name="Marcador de texto 3">
            <a:extLst>
              <a:ext uri="{FF2B5EF4-FFF2-40B4-BE49-F238E27FC236}">
                <a16:creationId xmlns:a16="http://schemas.microsoft.com/office/drawing/2014/main" id="{2A538B8E-41CD-4341-AED6-2FFA34B3F03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2791848" y="7504101"/>
            <a:ext cx="5934834" cy="529909"/>
          </a:xfrm>
        </p:spPr>
        <p:txBody>
          <a:bodyPr numCol="1">
            <a:noAutofit/>
          </a:bodyPr>
          <a:lstStyle>
            <a:lvl1pPr algn="just">
              <a:defRPr sz="1649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649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103" name="Marcador de texto 15">
            <a:extLst>
              <a:ext uri="{FF2B5EF4-FFF2-40B4-BE49-F238E27FC236}">
                <a16:creationId xmlns:a16="http://schemas.microsoft.com/office/drawing/2014/main" id="{173C5E62-67BC-9C45-8601-618E1D179FB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8391502" y="7312133"/>
            <a:ext cx="1203557" cy="690899"/>
          </a:xfrm>
        </p:spPr>
        <p:txBody>
          <a:bodyPr>
            <a:normAutofit/>
          </a:bodyPr>
          <a:lstStyle>
            <a:lvl1pPr algn="just">
              <a:defRPr sz="3298"/>
            </a:lvl1pPr>
            <a:lvl2pPr>
              <a:defRPr sz="3298">
                <a:solidFill>
                  <a:schemeClr val="tx1"/>
                </a:solidFill>
              </a:defRPr>
            </a:lvl2pPr>
            <a:lvl3pPr>
              <a:defRPr sz="3298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104" name="Marcador de texto 83">
            <a:extLst>
              <a:ext uri="{FF2B5EF4-FFF2-40B4-BE49-F238E27FC236}">
                <a16:creationId xmlns:a16="http://schemas.microsoft.com/office/drawing/2014/main" id="{967DFE4E-11D5-9B48-9787-7C376FDD573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192452" y="3753108"/>
            <a:ext cx="4899949" cy="519307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05" name="Marcador de texto 83">
            <a:extLst>
              <a:ext uri="{FF2B5EF4-FFF2-40B4-BE49-F238E27FC236}">
                <a16:creationId xmlns:a16="http://schemas.microsoft.com/office/drawing/2014/main" id="{A66AEF34-CCE3-244B-9A73-A752C1D152B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10192452" y="4931623"/>
            <a:ext cx="4894831" cy="532913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06" name="Marcador de texto 83">
            <a:extLst>
              <a:ext uri="{FF2B5EF4-FFF2-40B4-BE49-F238E27FC236}">
                <a16:creationId xmlns:a16="http://schemas.microsoft.com/office/drawing/2014/main" id="{2EC5676D-D773-CF40-86EC-47E332356C7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192452" y="6124777"/>
            <a:ext cx="4918773" cy="529909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07" name="Marcador de texto 83">
            <a:extLst>
              <a:ext uri="{FF2B5EF4-FFF2-40B4-BE49-F238E27FC236}">
                <a16:creationId xmlns:a16="http://schemas.microsoft.com/office/drawing/2014/main" id="{AFC92137-6235-2146-8DDC-3CC348067A2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0192452" y="7310609"/>
            <a:ext cx="4905329" cy="519307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08" name="Marcador de texto 83">
            <a:extLst>
              <a:ext uri="{FF2B5EF4-FFF2-40B4-BE49-F238E27FC236}">
                <a16:creationId xmlns:a16="http://schemas.microsoft.com/office/drawing/2014/main" id="{8F8F59DA-8014-C044-83F5-3C1BA460C2B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10192452" y="2559953"/>
            <a:ext cx="4918773" cy="519307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10" name="Marcador de texto 109">
            <a:extLst>
              <a:ext uri="{FF2B5EF4-FFF2-40B4-BE49-F238E27FC236}">
                <a16:creationId xmlns:a16="http://schemas.microsoft.com/office/drawing/2014/main" id="{47572D3A-0640-F64B-B8C7-BC1B9D44655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84347" y="1068328"/>
            <a:ext cx="4932216" cy="712070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Index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71648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Marcador de texto 78">
            <a:extLst>
              <a:ext uri="{FF2B5EF4-FFF2-40B4-BE49-F238E27FC236}">
                <a16:creationId xmlns:a16="http://schemas.microsoft.com/office/drawing/2014/main" id="{879DB0AB-F334-5B4C-8040-3E8C91CD21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90368" y="614510"/>
            <a:ext cx="4911175" cy="563269"/>
          </a:xfrm>
        </p:spPr>
        <p:txBody>
          <a:bodyPr>
            <a:normAutofit/>
          </a:bodyPr>
          <a:lstStyle>
            <a:lvl1pPr>
              <a:defRPr sz="2144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88" name="Marcador de texto 83">
            <a:extLst>
              <a:ext uri="{FF2B5EF4-FFF2-40B4-BE49-F238E27FC236}">
                <a16:creationId xmlns:a16="http://schemas.microsoft.com/office/drawing/2014/main" id="{0B90359A-FFF6-0145-9E7E-4AA8EA318B2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11052" y="2351387"/>
            <a:ext cx="1299506" cy="788963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2144"/>
              </a:spcBef>
              <a:defRPr sz="8905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1.</a:t>
            </a:r>
            <a:br>
              <a:rPr lang="es-ES"/>
            </a:br>
            <a:r>
              <a:rPr lang="es-ES"/>
              <a:t>2.</a:t>
            </a:r>
            <a:br>
              <a:rPr lang="es-ES"/>
            </a:br>
            <a:r>
              <a:rPr lang="es-ES"/>
              <a:t>3.</a:t>
            </a:r>
            <a:br>
              <a:rPr lang="es-ES"/>
            </a:br>
            <a:r>
              <a:rPr lang="es-ES"/>
              <a:t>4.</a:t>
            </a:r>
            <a:br>
              <a:rPr lang="es-ES"/>
            </a:br>
            <a:r>
              <a:rPr lang="es-ES"/>
              <a:t>5.</a:t>
            </a:r>
          </a:p>
        </p:txBody>
      </p:sp>
      <p:sp>
        <p:nvSpPr>
          <p:cNvPr id="110" name="Marcador de texto 109">
            <a:extLst>
              <a:ext uri="{FF2B5EF4-FFF2-40B4-BE49-F238E27FC236}">
                <a16:creationId xmlns:a16="http://schemas.microsoft.com/office/drawing/2014/main" id="{47572D3A-0640-F64B-B8C7-BC1B9D44655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84347" y="1068328"/>
            <a:ext cx="4932216" cy="712070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Index</a:t>
            </a:r>
            <a:endParaRPr lang="es-ES"/>
          </a:p>
        </p:txBody>
      </p:sp>
      <p:sp>
        <p:nvSpPr>
          <p:cNvPr id="44" name="Marcador de texto 83">
            <a:extLst>
              <a:ext uri="{FF2B5EF4-FFF2-40B4-BE49-F238E27FC236}">
                <a16:creationId xmlns:a16="http://schemas.microsoft.com/office/drawing/2014/main" id="{CBF29B9B-8E00-ED48-AEBE-65C3714F5EA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1815204" y="2351387"/>
            <a:ext cx="9723332" cy="788963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2144"/>
              </a:spcBef>
              <a:defRPr sz="8905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8992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Marcador de texto 78">
            <a:extLst>
              <a:ext uri="{FF2B5EF4-FFF2-40B4-BE49-F238E27FC236}">
                <a16:creationId xmlns:a16="http://schemas.microsoft.com/office/drawing/2014/main" id="{879DB0AB-F334-5B4C-8040-3E8C91CD21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74851" y="614510"/>
            <a:ext cx="4911175" cy="563269"/>
          </a:xfrm>
        </p:spPr>
        <p:txBody>
          <a:bodyPr>
            <a:normAutofit/>
          </a:bodyPr>
          <a:lstStyle>
            <a:lvl1pPr>
              <a:defRPr sz="2144" b="1" cap="all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88" name="Marcador de texto 83">
            <a:extLst>
              <a:ext uri="{FF2B5EF4-FFF2-40B4-BE49-F238E27FC236}">
                <a16:creationId xmlns:a16="http://schemas.microsoft.com/office/drawing/2014/main" id="{0B90359A-FFF6-0145-9E7E-4AA8EA318B2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56266" y="2322179"/>
            <a:ext cx="2154976" cy="146866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2144"/>
              </a:spcBef>
              <a:defRPr sz="8905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110" name="Marcador de texto 109">
            <a:extLst>
              <a:ext uri="{FF2B5EF4-FFF2-40B4-BE49-F238E27FC236}">
                <a16:creationId xmlns:a16="http://schemas.microsoft.com/office/drawing/2014/main" id="{47572D3A-0640-F64B-B8C7-BC1B9D44655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68831" y="1068328"/>
            <a:ext cx="4932216" cy="712070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Index</a:t>
            </a:r>
            <a:endParaRPr lang="es-E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C3542EB-847A-134C-87D5-341B3F888D0F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82509" y="3761408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ED21A4EA-B7DC-2249-9BBA-4D41A99B3CE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82509" y="4741551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18" name="Marcador de texto 83">
            <a:extLst>
              <a:ext uri="{FF2B5EF4-FFF2-40B4-BE49-F238E27FC236}">
                <a16:creationId xmlns:a16="http://schemas.microsoft.com/office/drawing/2014/main" id="{846ACD11-B8D6-D347-834E-2FFC4F767897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418425" y="2322179"/>
            <a:ext cx="2154976" cy="146866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2144"/>
              </a:spcBef>
              <a:defRPr sz="8905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19" name="Marcador de texto 2">
            <a:extLst>
              <a:ext uri="{FF2B5EF4-FFF2-40B4-BE49-F238E27FC236}">
                <a16:creationId xmlns:a16="http://schemas.microsoft.com/office/drawing/2014/main" id="{85611C3A-E7BA-8741-B713-7ECF35C208CF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444668" y="3761408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0" name="Marcador de texto 2">
            <a:extLst>
              <a:ext uri="{FF2B5EF4-FFF2-40B4-BE49-F238E27FC236}">
                <a16:creationId xmlns:a16="http://schemas.microsoft.com/office/drawing/2014/main" id="{3847668A-0F13-FD40-99C9-7D211293DC7B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444668" y="4741551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1" name="Marcador de texto 83">
            <a:extLst>
              <a:ext uri="{FF2B5EF4-FFF2-40B4-BE49-F238E27FC236}">
                <a16:creationId xmlns:a16="http://schemas.microsoft.com/office/drawing/2014/main" id="{2A5ED1A7-3C9E-0A47-A8B4-C2B3AC78C142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0155454" y="2322179"/>
            <a:ext cx="2154976" cy="146866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2144"/>
              </a:spcBef>
              <a:defRPr sz="8905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22" name="Marcador de texto 2">
            <a:extLst>
              <a:ext uri="{FF2B5EF4-FFF2-40B4-BE49-F238E27FC236}">
                <a16:creationId xmlns:a16="http://schemas.microsoft.com/office/drawing/2014/main" id="{665B95A9-6987-F748-AD20-7165E5E8CEE2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10181697" y="3761408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3" name="Marcador de texto 2">
            <a:extLst>
              <a:ext uri="{FF2B5EF4-FFF2-40B4-BE49-F238E27FC236}">
                <a16:creationId xmlns:a16="http://schemas.microsoft.com/office/drawing/2014/main" id="{7991601E-FE13-004A-B235-1C7E12150DAE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10181697" y="4741551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4" name="Marcador de texto 83">
            <a:extLst>
              <a:ext uri="{FF2B5EF4-FFF2-40B4-BE49-F238E27FC236}">
                <a16:creationId xmlns:a16="http://schemas.microsoft.com/office/drawing/2014/main" id="{B55C8E76-6CFF-6040-8FA8-33F63C85CEBF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14905047" y="2322179"/>
            <a:ext cx="2154976" cy="146866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2144"/>
              </a:spcBef>
              <a:defRPr sz="8905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25" name="Marcador de texto 2">
            <a:extLst>
              <a:ext uri="{FF2B5EF4-FFF2-40B4-BE49-F238E27FC236}">
                <a16:creationId xmlns:a16="http://schemas.microsoft.com/office/drawing/2014/main" id="{69111C5F-2E5B-A941-97B9-DF3CB7452A8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14931290" y="3761408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6" name="Marcador de texto 2">
            <a:extLst>
              <a:ext uri="{FF2B5EF4-FFF2-40B4-BE49-F238E27FC236}">
                <a16:creationId xmlns:a16="http://schemas.microsoft.com/office/drawing/2014/main" id="{E44F70FF-0454-5A49-B7FE-A299E03161D3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14931290" y="4741551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7" name="Marcador de texto 83">
            <a:extLst>
              <a:ext uri="{FF2B5EF4-FFF2-40B4-BE49-F238E27FC236}">
                <a16:creationId xmlns:a16="http://schemas.microsoft.com/office/drawing/2014/main" id="{C6EFC7DE-FDA3-344F-BA47-77E74A7AB00F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56266" y="6267886"/>
            <a:ext cx="2154976" cy="146866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2144"/>
              </a:spcBef>
              <a:defRPr sz="8905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28" name="Marcador de texto 2">
            <a:extLst>
              <a:ext uri="{FF2B5EF4-FFF2-40B4-BE49-F238E27FC236}">
                <a16:creationId xmlns:a16="http://schemas.microsoft.com/office/drawing/2014/main" id="{DEDD6D48-A77A-1B42-A0A7-7C1FA8FB2361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682509" y="7707114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9" name="Marcador de texto 2">
            <a:extLst>
              <a:ext uri="{FF2B5EF4-FFF2-40B4-BE49-F238E27FC236}">
                <a16:creationId xmlns:a16="http://schemas.microsoft.com/office/drawing/2014/main" id="{339E1E00-EF43-9842-A5D4-7D893A6A21DA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82509" y="8687258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0" name="Marcador de texto 83">
            <a:extLst>
              <a:ext uri="{FF2B5EF4-FFF2-40B4-BE49-F238E27FC236}">
                <a16:creationId xmlns:a16="http://schemas.microsoft.com/office/drawing/2014/main" id="{3609BFF5-C0EC-C74B-BAC5-C6247F87A159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5418425" y="6267886"/>
            <a:ext cx="2154976" cy="146866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2144"/>
              </a:spcBef>
              <a:defRPr sz="8905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31" name="Marcador de texto 2">
            <a:extLst>
              <a:ext uri="{FF2B5EF4-FFF2-40B4-BE49-F238E27FC236}">
                <a16:creationId xmlns:a16="http://schemas.microsoft.com/office/drawing/2014/main" id="{A2D9B95A-6F51-704A-8164-AE4376A52455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5444668" y="7707114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2" name="Marcador de texto 2">
            <a:extLst>
              <a:ext uri="{FF2B5EF4-FFF2-40B4-BE49-F238E27FC236}">
                <a16:creationId xmlns:a16="http://schemas.microsoft.com/office/drawing/2014/main" id="{347D8AC6-F6F7-AB40-BDAE-DFA1A20F303C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444668" y="8687258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3" name="Marcador de texto 83">
            <a:extLst>
              <a:ext uri="{FF2B5EF4-FFF2-40B4-BE49-F238E27FC236}">
                <a16:creationId xmlns:a16="http://schemas.microsoft.com/office/drawing/2014/main" id="{2175621C-7D22-9246-842E-EBEBA072199D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10155454" y="6267886"/>
            <a:ext cx="2154976" cy="146866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2144"/>
              </a:spcBef>
              <a:defRPr sz="8905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34" name="Marcador de texto 2">
            <a:extLst>
              <a:ext uri="{FF2B5EF4-FFF2-40B4-BE49-F238E27FC236}">
                <a16:creationId xmlns:a16="http://schemas.microsoft.com/office/drawing/2014/main" id="{857887B0-767A-9D43-9C2D-CFE8C77727A7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10181697" y="7707114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5" name="Marcador de texto 2">
            <a:extLst>
              <a:ext uri="{FF2B5EF4-FFF2-40B4-BE49-F238E27FC236}">
                <a16:creationId xmlns:a16="http://schemas.microsoft.com/office/drawing/2014/main" id="{79494816-53D2-E340-A80C-F39EE826D985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0181697" y="8687258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6" name="Marcador de texto 83">
            <a:extLst>
              <a:ext uri="{FF2B5EF4-FFF2-40B4-BE49-F238E27FC236}">
                <a16:creationId xmlns:a16="http://schemas.microsoft.com/office/drawing/2014/main" id="{E903AC53-87A3-6E4D-820F-7A4F85097C47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14905047" y="6267886"/>
            <a:ext cx="2154976" cy="146866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2144"/>
              </a:spcBef>
              <a:defRPr sz="8905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37" name="Marcador de texto 2">
            <a:extLst>
              <a:ext uri="{FF2B5EF4-FFF2-40B4-BE49-F238E27FC236}">
                <a16:creationId xmlns:a16="http://schemas.microsoft.com/office/drawing/2014/main" id="{46EEBF2D-185D-3F40-90DD-563D0093C87E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14931290" y="7707114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8" name="Marcador de texto 2">
            <a:extLst>
              <a:ext uri="{FF2B5EF4-FFF2-40B4-BE49-F238E27FC236}">
                <a16:creationId xmlns:a16="http://schemas.microsoft.com/office/drawing/2014/main" id="{F0CFAD44-F620-CD41-8005-F4C6AADCED77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14931290" y="8687258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16832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g object 17"/>
          <p:cNvSpPr/>
          <p:nvPr/>
        </p:nvSpPr>
        <p:spPr>
          <a:xfrm>
            <a:off x="1153535" y="5896925"/>
            <a:ext cx="3589420" cy="3567681"/>
          </a:xfrm>
          <a:custGeom>
            <a:avLst/>
            <a:gdLst/>
            <a:ahLst/>
            <a:cxnLst/>
            <a:rect l="l" t="t" r="r" b="b"/>
            <a:pathLst>
              <a:path w="2176780" h="2163445">
                <a:moveTo>
                  <a:pt x="304761" y="1031709"/>
                </a:moveTo>
                <a:lnTo>
                  <a:pt x="190017" y="1031100"/>
                </a:lnTo>
                <a:lnTo>
                  <a:pt x="150723" y="923290"/>
                </a:lnTo>
                <a:lnTo>
                  <a:pt x="114681" y="1032230"/>
                </a:lnTo>
                <a:lnTo>
                  <a:pt x="0" y="1036281"/>
                </a:lnTo>
                <a:lnTo>
                  <a:pt x="92468" y="1104226"/>
                </a:lnTo>
                <a:lnTo>
                  <a:pt x="60896" y="1214539"/>
                </a:lnTo>
                <a:lnTo>
                  <a:pt x="154089" y="1147597"/>
                </a:lnTo>
                <a:lnTo>
                  <a:pt x="249250" y="1211732"/>
                </a:lnTo>
                <a:lnTo>
                  <a:pt x="214376" y="1102398"/>
                </a:lnTo>
                <a:lnTo>
                  <a:pt x="304761" y="1031709"/>
                </a:lnTo>
                <a:close/>
              </a:path>
              <a:path w="2176780" h="2163445">
                <a:moveTo>
                  <a:pt x="429298" y="1503845"/>
                </a:moveTo>
                <a:lnTo>
                  <a:pt x="314553" y="1503222"/>
                </a:lnTo>
                <a:lnTo>
                  <a:pt x="275259" y="1395412"/>
                </a:lnTo>
                <a:lnTo>
                  <a:pt x="239217" y="1504353"/>
                </a:lnTo>
                <a:lnTo>
                  <a:pt x="124536" y="1508404"/>
                </a:lnTo>
                <a:lnTo>
                  <a:pt x="217004" y="1576362"/>
                </a:lnTo>
                <a:lnTo>
                  <a:pt x="185432" y="1686674"/>
                </a:lnTo>
                <a:lnTo>
                  <a:pt x="278625" y="1619732"/>
                </a:lnTo>
                <a:lnTo>
                  <a:pt x="373786" y="1683854"/>
                </a:lnTo>
                <a:lnTo>
                  <a:pt x="338912" y="1574520"/>
                </a:lnTo>
                <a:lnTo>
                  <a:pt x="429298" y="1503845"/>
                </a:lnTo>
                <a:close/>
              </a:path>
              <a:path w="2176780" h="2163445">
                <a:moveTo>
                  <a:pt x="429298" y="587197"/>
                </a:moveTo>
                <a:lnTo>
                  <a:pt x="314553" y="586587"/>
                </a:lnTo>
                <a:lnTo>
                  <a:pt x="275259" y="478777"/>
                </a:lnTo>
                <a:lnTo>
                  <a:pt x="239217" y="587717"/>
                </a:lnTo>
                <a:lnTo>
                  <a:pt x="124536" y="591769"/>
                </a:lnTo>
                <a:lnTo>
                  <a:pt x="217004" y="659714"/>
                </a:lnTo>
                <a:lnTo>
                  <a:pt x="185432" y="770026"/>
                </a:lnTo>
                <a:lnTo>
                  <a:pt x="278625" y="703084"/>
                </a:lnTo>
                <a:lnTo>
                  <a:pt x="373786" y="767207"/>
                </a:lnTo>
                <a:lnTo>
                  <a:pt x="338912" y="657885"/>
                </a:lnTo>
                <a:lnTo>
                  <a:pt x="429298" y="587197"/>
                </a:lnTo>
                <a:close/>
              </a:path>
              <a:path w="2176780" h="2163445">
                <a:moveTo>
                  <a:pt x="778014" y="1854504"/>
                </a:moveTo>
                <a:lnTo>
                  <a:pt x="663270" y="1853882"/>
                </a:lnTo>
                <a:lnTo>
                  <a:pt x="623976" y="1746072"/>
                </a:lnTo>
                <a:lnTo>
                  <a:pt x="587933" y="1855012"/>
                </a:lnTo>
                <a:lnTo>
                  <a:pt x="473252" y="1859064"/>
                </a:lnTo>
                <a:lnTo>
                  <a:pt x="565721" y="1927009"/>
                </a:lnTo>
                <a:lnTo>
                  <a:pt x="534149" y="2037321"/>
                </a:lnTo>
                <a:lnTo>
                  <a:pt x="627341" y="1970379"/>
                </a:lnTo>
                <a:lnTo>
                  <a:pt x="722503" y="2034514"/>
                </a:lnTo>
                <a:lnTo>
                  <a:pt x="687628" y="1925180"/>
                </a:lnTo>
                <a:lnTo>
                  <a:pt x="778014" y="1854504"/>
                </a:lnTo>
                <a:close/>
              </a:path>
              <a:path w="2176780" h="2163445">
                <a:moveTo>
                  <a:pt x="778014" y="228282"/>
                </a:moveTo>
                <a:lnTo>
                  <a:pt x="663270" y="227660"/>
                </a:lnTo>
                <a:lnTo>
                  <a:pt x="623976" y="119862"/>
                </a:lnTo>
                <a:lnTo>
                  <a:pt x="587933" y="228803"/>
                </a:lnTo>
                <a:lnTo>
                  <a:pt x="473252" y="232854"/>
                </a:lnTo>
                <a:lnTo>
                  <a:pt x="565721" y="300799"/>
                </a:lnTo>
                <a:lnTo>
                  <a:pt x="534149" y="411111"/>
                </a:lnTo>
                <a:lnTo>
                  <a:pt x="627341" y="344170"/>
                </a:lnTo>
                <a:lnTo>
                  <a:pt x="722503" y="408292"/>
                </a:lnTo>
                <a:lnTo>
                  <a:pt x="687628" y="298970"/>
                </a:lnTo>
                <a:lnTo>
                  <a:pt x="778014" y="228282"/>
                </a:lnTo>
                <a:close/>
              </a:path>
              <a:path w="2176780" h="2163445">
                <a:moveTo>
                  <a:pt x="1219758" y="1980361"/>
                </a:moveTo>
                <a:lnTo>
                  <a:pt x="1105014" y="1979739"/>
                </a:lnTo>
                <a:lnTo>
                  <a:pt x="1065720" y="1871941"/>
                </a:lnTo>
                <a:lnTo>
                  <a:pt x="1029677" y="1980869"/>
                </a:lnTo>
                <a:lnTo>
                  <a:pt x="914996" y="1984921"/>
                </a:lnTo>
                <a:lnTo>
                  <a:pt x="1007465" y="2052878"/>
                </a:lnTo>
                <a:lnTo>
                  <a:pt x="975893" y="2163191"/>
                </a:lnTo>
                <a:lnTo>
                  <a:pt x="1069086" y="2096249"/>
                </a:lnTo>
                <a:lnTo>
                  <a:pt x="1164247" y="2160371"/>
                </a:lnTo>
                <a:lnTo>
                  <a:pt x="1129372" y="2051050"/>
                </a:lnTo>
                <a:lnTo>
                  <a:pt x="1219758" y="1980361"/>
                </a:lnTo>
                <a:close/>
              </a:path>
              <a:path w="2176780" h="2163445">
                <a:moveTo>
                  <a:pt x="1219758" y="108419"/>
                </a:moveTo>
                <a:lnTo>
                  <a:pt x="1105014" y="107810"/>
                </a:lnTo>
                <a:lnTo>
                  <a:pt x="1065720" y="0"/>
                </a:lnTo>
                <a:lnTo>
                  <a:pt x="1029677" y="108940"/>
                </a:lnTo>
                <a:lnTo>
                  <a:pt x="914996" y="112991"/>
                </a:lnTo>
                <a:lnTo>
                  <a:pt x="1007465" y="180936"/>
                </a:lnTo>
                <a:lnTo>
                  <a:pt x="975893" y="291249"/>
                </a:lnTo>
                <a:lnTo>
                  <a:pt x="1069086" y="224307"/>
                </a:lnTo>
                <a:lnTo>
                  <a:pt x="1164247" y="288442"/>
                </a:lnTo>
                <a:lnTo>
                  <a:pt x="1129372" y="179108"/>
                </a:lnTo>
                <a:lnTo>
                  <a:pt x="1219758" y="108419"/>
                </a:lnTo>
                <a:close/>
              </a:path>
              <a:path w="2176780" h="2163445">
                <a:moveTo>
                  <a:pt x="1373847" y="702170"/>
                </a:moveTo>
                <a:lnTo>
                  <a:pt x="1339583" y="685114"/>
                </a:lnTo>
                <a:lnTo>
                  <a:pt x="1300035" y="669798"/>
                </a:lnTo>
                <a:lnTo>
                  <a:pt x="1253312" y="657390"/>
                </a:lnTo>
                <a:lnTo>
                  <a:pt x="1197495" y="649084"/>
                </a:lnTo>
                <a:lnTo>
                  <a:pt x="1130681" y="646061"/>
                </a:lnTo>
                <a:lnTo>
                  <a:pt x="1081951" y="648563"/>
                </a:lnTo>
                <a:lnTo>
                  <a:pt x="1034859" y="656031"/>
                </a:lnTo>
                <a:lnTo>
                  <a:pt x="989761" y="668375"/>
                </a:lnTo>
                <a:lnTo>
                  <a:pt x="947026" y="685507"/>
                </a:lnTo>
                <a:lnTo>
                  <a:pt x="906983" y="707351"/>
                </a:lnTo>
                <a:lnTo>
                  <a:pt x="870013" y="733806"/>
                </a:lnTo>
                <a:lnTo>
                  <a:pt x="836472" y="764806"/>
                </a:lnTo>
                <a:lnTo>
                  <a:pt x="806704" y="800252"/>
                </a:lnTo>
                <a:lnTo>
                  <a:pt x="781088" y="840079"/>
                </a:lnTo>
                <a:lnTo>
                  <a:pt x="759968" y="884174"/>
                </a:lnTo>
                <a:lnTo>
                  <a:pt x="743712" y="932484"/>
                </a:lnTo>
                <a:lnTo>
                  <a:pt x="625627" y="932484"/>
                </a:lnTo>
                <a:lnTo>
                  <a:pt x="625627" y="1022515"/>
                </a:lnTo>
                <a:lnTo>
                  <a:pt x="727354" y="1022515"/>
                </a:lnTo>
                <a:lnTo>
                  <a:pt x="726173" y="1066927"/>
                </a:lnTo>
                <a:lnTo>
                  <a:pt x="727354" y="1111364"/>
                </a:lnTo>
                <a:lnTo>
                  <a:pt x="625627" y="1111364"/>
                </a:lnTo>
                <a:lnTo>
                  <a:pt x="625627" y="1201381"/>
                </a:lnTo>
                <a:lnTo>
                  <a:pt x="743712" y="1201381"/>
                </a:lnTo>
                <a:lnTo>
                  <a:pt x="759968" y="1249680"/>
                </a:lnTo>
                <a:lnTo>
                  <a:pt x="781088" y="1293787"/>
                </a:lnTo>
                <a:lnTo>
                  <a:pt x="806704" y="1333614"/>
                </a:lnTo>
                <a:lnTo>
                  <a:pt x="836472" y="1369060"/>
                </a:lnTo>
                <a:lnTo>
                  <a:pt x="870013" y="1400060"/>
                </a:lnTo>
                <a:lnTo>
                  <a:pt x="906983" y="1426527"/>
                </a:lnTo>
                <a:lnTo>
                  <a:pt x="947026" y="1448358"/>
                </a:lnTo>
                <a:lnTo>
                  <a:pt x="989761" y="1465491"/>
                </a:lnTo>
                <a:lnTo>
                  <a:pt x="1034859" y="1477835"/>
                </a:lnTo>
                <a:lnTo>
                  <a:pt x="1081951" y="1485303"/>
                </a:lnTo>
                <a:lnTo>
                  <a:pt x="1130681" y="1487817"/>
                </a:lnTo>
                <a:lnTo>
                  <a:pt x="1197495" y="1484668"/>
                </a:lnTo>
                <a:lnTo>
                  <a:pt x="1253312" y="1476133"/>
                </a:lnTo>
                <a:lnTo>
                  <a:pt x="1300035" y="1463560"/>
                </a:lnTo>
                <a:lnTo>
                  <a:pt x="1339583" y="1448308"/>
                </a:lnTo>
                <a:lnTo>
                  <a:pt x="1373847" y="1431696"/>
                </a:lnTo>
                <a:lnTo>
                  <a:pt x="1373847" y="1318285"/>
                </a:lnTo>
                <a:lnTo>
                  <a:pt x="1338287" y="1335341"/>
                </a:lnTo>
                <a:lnTo>
                  <a:pt x="1298905" y="1350657"/>
                </a:lnTo>
                <a:lnTo>
                  <a:pt x="1253566" y="1363065"/>
                </a:lnTo>
                <a:lnTo>
                  <a:pt x="1200150" y="1371371"/>
                </a:lnTo>
                <a:lnTo>
                  <a:pt x="1136523" y="1374406"/>
                </a:lnTo>
                <a:lnTo>
                  <a:pt x="1089012" y="1371193"/>
                </a:lnTo>
                <a:lnTo>
                  <a:pt x="1043317" y="1361363"/>
                </a:lnTo>
                <a:lnTo>
                  <a:pt x="1000417" y="1344587"/>
                </a:lnTo>
                <a:lnTo>
                  <a:pt x="961250" y="1320520"/>
                </a:lnTo>
                <a:lnTo>
                  <a:pt x="926782" y="1288846"/>
                </a:lnTo>
                <a:lnTo>
                  <a:pt x="897991" y="1249248"/>
                </a:lnTo>
                <a:lnTo>
                  <a:pt x="875817" y="1201381"/>
                </a:lnTo>
                <a:lnTo>
                  <a:pt x="1216025" y="1201381"/>
                </a:lnTo>
                <a:lnTo>
                  <a:pt x="1216025" y="1111364"/>
                </a:lnTo>
                <a:lnTo>
                  <a:pt x="857110" y="1111364"/>
                </a:lnTo>
                <a:lnTo>
                  <a:pt x="856259" y="1100632"/>
                </a:lnTo>
                <a:lnTo>
                  <a:pt x="854976" y="1078306"/>
                </a:lnTo>
                <a:lnTo>
                  <a:pt x="854773" y="1066927"/>
                </a:lnTo>
                <a:lnTo>
                  <a:pt x="854976" y="1055547"/>
                </a:lnTo>
                <a:lnTo>
                  <a:pt x="855510" y="1044282"/>
                </a:lnTo>
                <a:lnTo>
                  <a:pt x="857110" y="1022515"/>
                </a:lnTo>
                <a:lnTo>
                  <a:pt x="1216025" y="1022515"/>
                </a:lnTo>
                <a:lnTo>
                  <a:pt x="1216025" y="932484"/>
                </a:lnTo>
                <a:lnTo>
                  <a:pt x="875817" y="932484"/>
                </a:lnTo>
                <a:lnTo>
                  <a:pt x="897991" y="884618"/>
                </a:lnTo>
                <a:lnTo>
                  <a:pt x="926782" y="845007"/>
                </a:lnTo>
                <a:lnTo>
                  <a:pt x="961250" y="813333"/>
                </a:lnTo>
                <a:lnTo>
                  <a:pt x="1000417" y="789279"/>
                </a:lnTo>
                <a:lnTo>
                  <a:pt x="1043317" y="772490"/>
                </a:lnTo>
                <a:lnTo>
                  <a:pt x="1089012" y="762660"/>
                </a:lnTo>
                <a:lnTo>
                  <a:pt x="1136523" y="759460"/>
                </a:lnTo>
                <a:lnTo>
                  <a:pt x="1200150" y="762482"/>
                </a:lnTo>
                <a:lnTo>
                  <a:pt x="1253566" y="770788"/>
                </a:lnTo>
                <a:lnTo>
                  <a:pt x="1298905" y="783196"/>
                </a:lnTo>
                <a:lnTo>
                  <a:pt x="1338287" y="798512"/>
                </a:lnTo>
                <a:lnTo>
                  <a:pt x="1373847" y="815568"/>
                </a:lnTo>
                <a:lnTo>
                  <a:pt x="1373847" y="702170"/>
                </a:lnTo>
                <a:close/>
              </a:path>
              <a:path w="2176780" h="2163445">
                <a:moveTo>
                  <a:pt x="1686369" y="1854504"/>
                </a:moveTo>
                <a:lnTo>
                  <a:pt x="1571625" y="1853882"/>
                </a:lnTo>
                <a:lnTo>
                  <a:pt x="1532331" y="1746072"/>
                </a:lnTo>
                <a:lnTo>
                  <a:pt x="1496275" y="1855012"/>
                </a:lnTo>
                <a:lnTo>
                  <a:pt x="1381607" y="1859064"/>
                </a:lnTo>
                <a:lnTo>
                  <a:pt x="1474076" y="1927009"/>
                </a:lnTo>
                <a:lnTo>
                  <a:pt x="1442504" y="2037321"/>
                </a:lnTo>
                <a:lnTo>
                  <a:pt x="1535684" y="1970379"/>
                </a:lnTo>
                <a:lnTo>
                  <a:pt x="1630857" y="2034514"/>
                </a:lnTo>
                <a:lnTo>
                  <a:pt x="1595970" y="1925180"/>
                </a:lnTo>
                <a:lnTo>
                  <a:pt x="1686369" y="1854504"/>
                </a:lnTo>
                <a:close/>
              </a:path>
              <a:path w="2176780" h="2163445">
                <a:moveTo>
                  <a:pt x="1686369" y="228282"/>
                </a:moveTo>
                <a:lnTo>
                  <a:pt x="1571625" y="227660"/>
                </a:lnTo>
                <a:lnTo>
                  <a:pt x="1532331" y="119862"/>
                </a:lnTo>
                <a:lnTo>
                  <a:pt x="1496275" y="228803"/>
                </a:lnTo>
                <a:lnTo>
                  <a:pt x="1381607" y="232854"/>
                </a:lnTo>
                <a:lnTo>
                  <a:pt x="1474076" y="300799"/>
                </a:lnTo>
                <a:lnTo>
                  <a:pt x="1442504" y="411111"/>
                </a:lnTo>
                <a:lnTo>
                  <a:pt x="1535684" y="344170"/>
                </a:lnTo>
                <a:lnTo>
                  <a:pt x="1630857" y="408292"/>
                </a:lnTo>
                <a:lnTo>
                  <a:pt x="1595970" y="298970"/>
                </a:lnTo>
                <a:lnTo>
                  <a:pt x="1686369" y="228282"/>
                </a:lnTo>
                <a:close/>
              </a:path>
              <a:path w="2176780" h="2163445">
                <a:moveTo>
                  <a:pt x="2051685" y="1503845"/>
                </a:moveTo>
                <a:lnTo>
                  <a:pt x="1936940" y="1503222"/>
                </a:lnTo>
                <a:lnTo>
                  <a:pt x="1897646" y="1395412"/>
                </a:lnTo>
                <a:lnTo>
                  <a:pt x="1861604" y="1504353"/>
                </a:lnTo>
                <a:lnTo>
                  <a:pt x="1746923" y="1508404"/>
                </a:lnTo>
                <a:lnTo>
                  <a:pt x="1839391" y="1576362"/>
                </a:lnTo>
                <a:lnTo>
                  <a:pt x="1807819" y="1686674"/>
                </a:lnTo>
                <a:lnTo>
                  <a:pt x="1901012" y="1619732"/>
                </a:lnTo>
                <a:lnTo>
                  <a:pt x="1996173" y="1683854"/>
                </a:lnTo>
                <a:lnTo>
                  <a:pt x="1961299" y="1574520"/>
                </a:lnTo>
                <a:lnTo>
                  <a:pt x="2051685" y="1503845"/>
                </a:lnTo>
                <a:close/>
              </a:path>
              <a:path w="2176780" h="2163445">
                <a:moveTo>
                  <a:pt x="2051685" y="587197"/>
                </a:moveTo>
                <a:lnTo>
                  <a:pt x="1936940" y="586587"/>
                </a:lnTo>
                <a:lnTo>
                  <a:pt x="1897646" y="478777"/>
                </a:lnTo>
                <a:lnTo>
                  <a:pt x="1861604" y="587717"/>
                </a:lnTo>
                <a:lnTo>
                  <a:pt x="1746923" y="591769"/>
                </a:lnTo>
                <a:lnTo>
                  <a:pt x="1839391" y="659714"/>
                </a:lnTo>
                <a:lnTo>
                  <a:pt x="1807819" y="770026"/>
                </a:lnTo>
                <a:lnTo>
                  <a:pt x="1901012" y="703084"/>
                </a:lnTo>
                <a:lnTo>
                  <a:pt x="1996173" y="767207"/>
                </a:lnTo>
                <a:lnTo>
                  <a:pt x="1961299" y="657885"/>
                </a:lnTo>
                <a:lnTo>
                  <a:pt x="2051685" y="587197"/>
                </a:lnTo>
                <a:close/>
              </a:path>
              <a:path w="2176780" h="2163445">
                <a:moveTo>
                  <a:pt x="2176221" y="1031709"/>
                </a:moveTo>
                <a:lnTo>
                  <a:pt x="2061476" y="1031100"/>
                </a:lnTo>
                <a:lnTo>
                  <a:pt x="2022182" y="923290"/>
                </a:lnTo>
                <a:lnTo>
                  <a:pt x="1986140" y="1032230"/>
                </a:lnTo>
                <a:lnTo>
                  <a:pt x="1871459" y="1036281"/>
                </a:lnTo>
                <a:lnTo>
                  <a:pt x="1963928" y="1104226"/>
                </a:lnTo>
                <a:lnTo>
                  <a:pt x="1932355" y="1214539"/>
                </a:lnTo>
                <a:lnTo>
                  <a:pt x="2025548" y="1147597"/>
                </a:lnTo>
                <a:lnTo>
                  <a:pt x="2120709" y="1211732"/>
                </a:lnTo>
                <a:lnTo>
                  <a:pt x="2085835" y="1102398"/>
                </a:lnTo>
                <a:lnTo>
                  <a:pt x="2176221" y="1031709"/>
                </a:lnTo>
                <a:close/>
              </a:path>
            </a:pathLst>
          </a:custGeom>
          <a:solidFill>
            <a:srgbClr val="EDE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28" b="1" i="0">
                <a:solidFill>
                  <a:srgbClr val="0066FF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2638" b="1" i="0">
                <a:solidFill>
                  <a:srgbClr val="0066FF"/>
                </a:solidFill>
                <a:latin typeface="Century Gothic"/>
                <a:cs typeface="Century Gothic"/>
              </a:defRPr>
            </a:lvl1pPr>
          </a:lstStyle>
          <a:p>
            <a:pPr marL="20942">
              <a:spcBef>
                <a:spcPts val="181"/>
              </a:spcBef>
            </a:pPr>
            <a:r>
              <a:rPr lang="es-ES" spc="8"/>
              <a:t>FONDOS</a:t>
            </a:r>
            <a:r>
              <a:rPr lang="es-ES" spc="-165"/>
              <a:t> </a:t>
            </a:r>
            <a:r>
              <a:rPr lang="es-ES" spc="115"/>
              <a:t>EUROPEOS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7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2638" b="1" i="0">
                <a:solidFill>
                  <a:srgbClr val="0066FF"/>
                </a:solidFill>
                <a:latin typeface="Century Gothic"/>
                <a:cs typeface="Century Gothic"/>
              </a:defRPr>
            </a:lvl1pPr>
          </a:lstStyle>
          <a:p>
            <a:pPr marL="62827">
              <a:spcBef>
                <a:spcPts val="181"/>
              </a:spcBef>
            </a:pPr>
            <a:fld id="{81D60167-4931-47E6-BA6A-407CBD079E47}" type="slidenum">
              <a:rPr lang="es-ES" spc="33" smtClean="0"/>
              <a:pPr marL="62827">
                <a:spcBef>
                  <a:spcPts val="181"/>
                </a:spcBef>
              </a:pPr>
              <a:t>‹Nº›</a:t>
            </a:fld>
            <a:endParaRPr lang="es-ES" spc="33"/>
          </a:p>
        </p:txBody>
      </p:sp>
    </p:spTree>
    <p:extLst>
      <p:ext uri="{BB962C8B-B14F-4D97-AF65-F5344CB8AC3E}">
        <p14:creationId xmlns:p14="http://schemas.microsoft.com/office/powerpoint/2010/main" val="34008388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54F365-6453-428F-BCEF-2E9FA2875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809" y="474945"/>
            <a:ext cx="18455867" cy="13418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s-ES" sz="3298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el estilo de título del patrón</a:t>
            </a: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D49F185A-EA99-44F6-BF6A-4676FFD444B3}"/>
              </a:ext>
            </a:extLst>
          </p:cNvPr>
          <p:cNvSpPr>
            <a:spLocks/>
          </p:cNvSpPr>
          <p:nvPr userDrawn="1"/>
        </p:nvSpPr>
        <p:spPr bwMode="auto">
          <a:xfrm>
            <a:off x="16896883" y="10741563"/>
            <a:ext cx="370293" cy="253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649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Nº›</a:t>
            </a:fld>
            <a:endParaRPr lang="es-ES_tradnl" altLang="es-ES" sz="1649" b="0" i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E58DE4FD-BFF5-43B6-9D8D-756DB2EB38AD}"/>
              </a:ext>
            </a:extLst>
          </p:cNvPr>
          <p:cNvCxnSpPr/>
          <p:nvPr userDrawn="1"/>
        </p:nvCxnSpPr>
        <p:spPr>
          <a:xfrm flipV="1">
            <a:off x="17355130" y="10659672"/>
            <a:ext cx="0" cy="41757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agen 5">
            <a:extLst>
              <a:ext uri="{FF2B5EF4-FFF2-40B4-BE49-F238E27FC236}">
                <a16:creationId xmlns:a16="http://schemas.microsoft.com/office/drawing/2014/main" id="{28048266-8166-4080-9229-EA00EDEA61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2F4FF"/>
              </a:clrFrom>
              <a:clrTo>
                <a:srgbClr val="F2F4FF">
                  <a:alpha val="0"/>
                </a:srgbClr>
              </a:clrTo>
            </a:clrChange>
          </a:blip>
          <a:srcRect r="68980" b="89173"/>
          <a:stretch/>
        </p:blipFill>
        <p:spPr>
          <a:xfrm>
            <a:off x="17137764" y="10497733"/>
            <a:ext cx="3346996" cy="600472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343613506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un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5">
            <a:extLst>
              <a:ext uri="{FF2B5EF4-FFF2-40B4-BE49-F238E27FC236}">
                <a16:creationId xmlns:a16="http://schemas.microsoft.com/office/drawing/2014/main" id="{39F8226E-E282-6E49-8A71-65A034502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99" y="2457423"/>
            <a:ext cx="10904621" cy="2185952"/>
          </a:xfrm>
          <a:noFill/>
        </p:spPr>
        <p:txBody>
          <a:bodyPr/>
          <a:lstStyle/>
          <a:p>
            <a:r>
              <a:rPr lang="es-ES"/>
              <a:t>Haga clic para modificar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1A2A5620-AEF3-4042-A19F-60DAB42887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022" y="5134193"/>
            <a:ext cx="10904621" cy="1793264"/>
          </a:xfrm>
        </p:spPr>
        <p:txBody>
          <a:bodyPr/>
          <a:lstStyle>
            <a:lvl1pPr>
              <a:defRPr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s-ES"/>
              <a:t>Haga clic para modificar</a:t>
            </a:r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A0C2C86A-E25F-F94C-9B10-DA32F24E3B9F}"/>
              </a:ext>
            </a:extLst>
          </p:cNvPr>
          <p:cNvSpPr/>
          <p:nvPr userDrawn="1"/>
        </p:nvSpPr>
        <p:spPr>
          <a:xfrm>
            <a:off x="12735947" y="3168391"/>
            <a:ext cx="784060" cy="78411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968"/>
          </a:p>
        </p:txBody>
      </p:sp>
      <p:sp>
        <p:nvSpPr>
          <p:cNvPr id="23" name="Elipse 22">
            <a:extLst>
              <a:ext uri="{FF2B5EF4-FFF2-40B4-BE49-F238E27FC236}">
                <a16:creationId xmlns:a16="http://schemas.microsoft.com/office/drawing/2014/main" id="{F5B29F80-9491-2344-915D-11D96128C8D5}"/>
              </a:ext>
            </a:extLst>
          </p:cNvPr>
          <p:cNvSpPr/>
          <p:nvPr userDrawn="1"/>
        </p:nvSpPr>
        <p:spPr>
          <a:xfrm>
            <a:off x="14796618" y="2394329"/>
            <a:ext cx="784060" cy="78411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968"/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CDF087C4-BCE5-CF4D-9264-8BF23D238C86}"/>
              </a:ext>
            </a:extLst>
          </p:cNvPr>
          <p:cNvSpPr/>
          <p:nvPr userDrawn="1"/>
        </p:nvSpPr>
        <p:spPr>
          <a:xfrm>
            <a:off x="16766819" y="3289024"/>
            <a:ext cx="784060" cy="78411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968"/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id="{83D5DDB1-3969-7842-816C-0E9028EEE0BD}"/>
              </a:ext>
            </a:extLst>
          </p:cNvPr>
          <p:cNvSpPr/>
          <p:nvPr userDrawn="1"/>
        </p:nvSpPr>
        <p:spPr>
          <a:xfrm>
            <a:off x="15238908" y="4083191"/>
            <a:ext cx="784060" cy="78411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968"/>
              <a:t> </a:t>
            </a:r>
          </a:p>
        </p:txBody>
      </p:sp>
      <p:sp>
        <p:nvSpPr>
          <p:cNvPr id="26" name="Elipse 25">
            <a:extLst>
              <a:ext uri="{FF2B5EF4-FFF2-40B4-BE49-F238E27FC236}">
                <a16:creationId xmlns:a16="http://schemas.microsoft.com/office/drawing/2014/main" id="{67B38733-C7CE-CC40-A346-42CB9FDC07EC}"/>
              </a:ext>
            </a:extLst>
          </p:cNvPr>
          <p:cNvSpPr/>
          <p:nvPr userDrawn="1"/>
        </p:nvSpPr>
        <p:spPr>
          <a:xfrm>
            <a:off x="13590372" y="4696410"/>
            <a:ext cx="784060" cy="78411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968"/>
          </a:p>
        </p:txBody>
      </p:sp>
      <p:sp>
        <p:nvSpPr>
          <p:cNvPr id="27" name="Elipse 26">
            <a:extLst>
              <a:ext uri="{FF2B5EF4-FFF2-40B4-BE49-F238E27FC236}">
                <a16:creationId xmlns:a16="http://schemas.microsoft.com/office/drawing/2014/main" id="{8BFA97A2-60F7-D140-96EB-06C955249400}"/>
              </a:ext>
            </a:extLst>
          </p:cNvPr>
          <p:cNvSpPr/>
          <p:nvPr userDrawn="1"/>
        </p:nvSpPr>
        <p:spPr>
          <a:xfrm>
            <a:off x="11861419" y="5178942"/>
            <a:ext cx="784060" cy="78411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968"/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id="{DEC6ABBC-FB28-CA45-9260-33DBDD5A8E66}"/>
              </a:ext>
            </a:extLst>
          </p:cNvPr>
          <p:cNvSpPr/>
          <p:nvPr userDrawn="1"/>
        </p:nvSpPr>
        <p:spPr>
          <a:xfrm>
            <a:off x="12645479" y="7209598"/>
            <a:ext cx="784060" cy="78411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968"/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id="{5B103E51-E0A9-9441-9112-9DA26F729EF9}"/>
              </a:ext>
            </a:extLst>
          </p:cNvPr>
          <p:cNvSpPr/>
          <p:nvPr userDrawn="1"/>
        </p:nvSpPr>
        <p:spPr>
          <a:xfrm>
            <a:off x="14163338" y="6244534"/>
            <a:ext cx="784060" cy="78411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968"/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id="{EC7C4346-C80A-C541-BA30-B4E1DA70FB78}"/>
              </a:ext>
            </a:extLst>
          </p:cNvPr>
          <p:cNvSpPr/>
          <p:nvPr userDrawn="1"/>
        </p:nvSpPr>
        <p:spPr>
          <a:xfrm>
            <a:off x="15801823" y="5641369"/>
            <a:ext cx="784060" cy="78411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968"/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C4AA2D7D-96BC-834F-982E-1D3BD6940C2E}"/>
              </a:ext>
            </a:extLst>
          </p:cNvPr>
          <p:cNvSpPr/>
          <p:nvPr userDrawn="1"/>
        </p:nvSpPr>
        <p:spPr>
          <a:xfrm>
            <a:off x="17550879" y="5309628"/>
            <a:ext cx="784060" cy="78411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968"/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id="{40EC2DE0-33FD-D14C-BA7A-66CBC390B67A}"/>
              </a:ext>
            </a:extLst>
          </p:cNvPr>
          <p:cNvSpPr/>
          <p:nvPr userDrawn="1"/>
        </p:nvSpPr>
        <p:spPr>
          <a:xfrm>
            <a:off x="16676351" y="7300073"/>
            <a:ext cx="784060" cy="78411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968"/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id="{1D4C3106-9AF6-DD43-9204-40AA090B6033}"/>
              </a:ext>
            </a:extLst>
          </p:cNvPr>
          <p:cNvSpPr/>
          <p:nvPr userDrawn="1"/>
        </p:nvSpPr>
        <p:spPr>
          <a:xfrm>
            <a:off x="14635785" y="8074135"/>
            <a:ext cx="784060" cy="78411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968"/>
          </a:p>
        </p:txBody>
      </p:sp>
    </p:spTree>
    <p:extLst>
      <p:ext uri="{BB962C8B-B14F-4D97-AF65-F5344CB8AC3E}">
        <p14:creationId xmlns:p14="http://schemas.microsoft.com/office/powerpoint/2010/main" val="4238958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ndo_Blanco_Titular_Azu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13" y="4245735"/>
            <a:ext cx="15653167" cy="2185952"/>
          </a:xfrm>
          <a:noFill/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4035" y="6922505"/>
            <a:ext cx="15623046" cy="1793264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24A37FC6-CFAA-AA40-9AEC-EDB5AC61EE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9505" y="686334"/>
            <a:ext cx="3289992" cy="936877"/>
          </a:xfrm>
          <a:prstGeom prst="rect">
            <a:avLst/>
          </a:prstGeom>
        </p:spPr>
      </p:pic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F954BD66-1368-BA4D-A88F-DFD8931680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48831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553422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_Nume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5">
            <a:extLst>
              <a:ext uri="{FF2B5EF4-FFF2-40B4-BE49-F238E27FC236}">
                <a16:creationId xmlns:a16="http://schemas.microsoft.com/office/drawing/2014/main" id="{39F8226E-E282-6E49-8A71-65A034502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99" y="2457423"/>
            <a:ext cx="10904621" cy="2185952"/>
          </a:xfrm>
          <a:noFill/>
        </p:spPr>
        <p:txBody>
          <a:bodyPr/>
          <a:lstStyle/>
          <a:p>
            <a:r>
              <a:rPr lang="es-ES"/>
              <a:t>Haga clic para modificar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1A2A5620-AEF3-4042-A19F-60DAB42887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022" y="5134193"/>
            <a:ext cx="10904621" cy="1793264"/>
          </a:xfrm>
        </p:spPr>
        <p:txBody>
          <a:bodyPr/>
          <a:lstStyle>
            <a:lvl1pPr>
              <a:defRPr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s-ES"/>
              <a:t>Haga clic para modificar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42B4C642-AD83-E048-B9D3-0C11F037BD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414390" y="1673222"/>
            <a:ext cx="8689712" cy="7743763"/>
          </a:xfrm>
        </p:spPr>
        <p:txBody>
          <a:bodyPr>
            <a:noAutofit/>
          </a:bodyPr>
          <a:lstStyle>
            <a:lvl1pPr>
              <a:defRPr sz="5606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1588727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_Nume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5">
            <a:extLst>
              <a:ext uri="{FF2B5EF4-FFF2-40B4-BE49-F238E27FC236}">
                <a16:creationId xmlns:a16="http://schemas.microsoft.com/office/drawing/2014/main" id="{39F8226E-E282-6E49-8A71-65A034502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99" y="2457423"/>
            <a:ext cx="10904621" cy="2185952"/>
          </a:xfrm>
          <a:noFill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s-ES"/>
              <a:t>Haga clic para modificar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1A2A5620-AEF3-4042-A19F-60DAB42887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022" y="5134193"/>
            <a:ext cx="10904621" cy="1793264"/>
          </a:xfrm>
        </p:spPr>
        <p:txBody>
          <a:bodyPr/>
          <a:lstStyle>
            <a:lvl1pPr>
              <a:defRPr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Haga clic para modificar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42B4C642-AD83-E048-B9D3-0C11F037BD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414390" y="1673222"/>
            <a:ext cx="8689712" cy="7743763"/>
          </a:xfrm>
        </p:spPr>
        <p:txBody>
          <a:bodyPr>
            <a:noAutofit/>
          </a:bodyPr>
          <a:lstStyle>
            <a:lvl1pPr>
              <a:defRPr sz="5606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735283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_Nume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5">
            <a:extLst>
              <a:ext uri="{FF2B5EF4-FFF2-40B4-BE49-F238E27FC236}">
                <a16:creationId xmlns:a16="http://schemas.microsoft.com/office/drawing/2014/main" id="{39F8226E-E282-6E49-8A71-65A034502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99" y="2457423"/>
            <a:ext cx="10904621" cy="218595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1A2A5620-AEF3-4042-A19F-60DAB42887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022" y="5134193"/>
            <a:ext cx="10904621" cy="1793264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42B4C642-AD83-E048-B9D3-0C11F037BD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414390" y="1673222"/>
            <a:ext cx="8689712" cy="7743763"/>
          </a:xfrm>
        </p:spPr>
        <p:txBody>
          <a:bodyPr>
            <a:noAutofit/>
          </a:bodyPr>
          <a:lstStyle>
            <a:lvl1pPr>
              <a:defRPr sz="5606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1825174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_Nume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5">
            <a:extLst>
              <a:ext uri="{FF2B5EF4-FFF2-40B4-BE49-F238E27FC236}">
                <a16:creationId xmlns:a16="http://schemas.microsoft.com/office/drawing/2014/main" id="{39F8226E-E282-6E49-8A71-65A034502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99" y="2457423"/>
            <a:ext cx="10904621" cy="2185952"/>
          </a:xfrm>
          <a:noFill/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1A2A5620-AEF3-4042-A19F-60DAB42887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022" y="5134193"/>
            <a:ext cx="10904621" cy="179326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Haga clic para modificar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42B4C642-AD83-E048-B9D3-0C11F037BD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414390" y="1673222"/>
            <a:ext cx="8689712" cy="7743763"/>
          </a:xfrm>
        </p:spPr>
        <p:txBody>
          <a:bodyPr>
            <a:noAutofit/>
          </a:bodyPr>
          <a:lstStyle>
            <a:lvl1pPr>
              <a:defRPr sz="56066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2701674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_Nume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5">
            <a:extLst>
              <a:ext uri="{FF2B5EF4-FFF2-40B4-BE49-F238E27FC236}">
                <a16:creationId xmlns:a16="http://schemas.microsoft.com/office/drawing/2014/main" id="{39F8226E-E282-6E49-8A71-65A0345022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99" y="2457423"/>
            <a:ext cx="10904621" cy="2185952"/>
          </a:xfrm>
          <a:noFill/>
        </p:spPr>
        <p:txBody>
          <a:bodyPr/>
          <a:lstStyle>
            <a:lvl1pPr>
              <a:defRPr>
                <a:solidFill>
                  <a:schemeClr val="accent5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s-ES"/>
              <a:t>Haga clic para modificar</a:t>
            </a:r>
          </a:p>
        </p:txBody>
      </p:sp>
      <p:sp>
        <p:nvSpPr>
          <p:cNvPr id="9" name="Marcador de texto 7">
            <a:extLst>
              <a:ext uri="{FF2B5EF4-FFF2-40B4-BE49-F238E27FC236}">
                <a16:creationId xmlns:a16="http://schemas.microsoft.com/office/drawing/2014/main" id="{1A2A5620-AEF3-4042-A19F-60DAB42887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0022" y="5134193"/>
            <a:ext cx="10904621" cy="1793264"/>
          </a:xfrm>
        </p:spPr>
        <p:txBody>
          <a:bodyPr/>
          <a:lstStyle>
            <a:lvl1pPr>
              <a:defRPr baseline="0">
                <a:solidFill>
                  <a:schemeClr val="accent5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s-ES"/>
              <a:t>Haga clic para modificar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42B4C642-AD83-E048-B9D3-0C11F037BD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414390" y="1673222"/>
            <a:ext cx="8689712" cy="7743763"/>
          </a:xfrm>
        </p:spPr>
        <p:txBody>
          <a:bodyPr>
            <a:noAutofit/>
          </a:bodyPr>
          <a:lstStyle>
            <a:lvl1pPr>
              <a:defRPr sz="56066" b="0">
                <a:solidFill>
                  <a:schemeClr val="accent5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s-ES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2569673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ndo_Azul_Logo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00DCAC73-46A0-4F44-878E-B326B1156B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72004" y="3874500"/>
            <a:ext cx="3560099" cy="3560351"/>
          </a:xfrm>
        </p:spPr>
        <p:txBody>
          <a:bodyPr/>
          <a:lstStyle/>
          <a:p>
            <a:endParaRPr lang="es-ES"/>
          </a:p>
        </p:txBody>
      </p:sp>
      <p:sp>
        <p:nvSpPr>
          <p:cNvPr id="9" name="Marcador de posición de imagen 6">
            <a:extLst>
              <a:ext uri="{FF2B5EF4-FFF2-40B4-BE49-F238E27FC236}">
                <a16:creationId xmlns:a16="http://schemas.microsoft.com/office/drawing/2014/main" id="{80A30C94-9398-024F-8F1F-0723B72502C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272000" y="9811908"/>
            <a:ext cx="3560103" cy="1185912"/>
          </a:xfrm>
        </p:spPr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72686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38F847B-B1D5-6E4F-BAF3-178C29398D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7788" y="3088190"/>
            <a:ext cx="4891889" cy="548508"/>
          </a:xfrm>
        </p:spPr>
        <p:txBody>
          <a:bodyPr numCol="1">
            <a:normAutofit/>
          </a:bodyPr>
          <a:lstStyle>
            <a:lvl1pPr algn="just">
              <a:defRPr sz="2968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5" name="Marcador de texto 3">
            <a:extLst>
              <a:ext uri="{FF2B5EF4-FFF2-40B4-BE49-F238E27FC236}">
                <a16:creationId xmlns:a16="http://schemas.microsoft.com/office/drawing/2014/main" id="{0E77A328-002E-C148-B1FB-AB2185096C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3741" y="2751409"/>
            <a:ext cx="5934834" cy="506826"/>
          </a:xfrm>
        </p:spPr>
        <p:txBody>
          <a:bodyPr numCol="1">
            <a:noAutofit/>
          </a:bodyPr>
          <a:lstStyle>
            <a:lvl1pPr algn="just">
              <a:defRPr sz="1649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649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16" name="Marcador de texto 15">
            <a:extLst>
              <a:ext uri="{FF2B5EF4-FFF2-40B4-BE49-F238E27FC236}">
                <a16:creationId xmlns:a16="http://schemas.microsoft.com/office/drawing/2014/main" id="{6FF4BFE9-A3A9-7749-B879-E60B1A2B8D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83396" y="2559441"/>
            <a:ext cx="1203557" cy="690899"/>
          </a:xfrm>
        </p:spPr>
        <p:txBody>
          <a:bodyPr>
            <a:normAutofit/>
          </a:bodyPr>
          <a:lstStyle>
            <a:lvl1pPr algn="just">
              <a:defRPr sz="3298"/>
            </a:lvl1pPr>
            <a:lvl2pPr>
              <a:defRPr sz="3298">
                <a:solidFill>
                  <a:schemeClr val="tx1"/>
                </a:solidFill>
              </a:defRPr>
            </a:lvl2pPr>
            <a:lvl3pPr>
              <a:defRPr sz="3298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23" name="Marcador de texto 3">
            <a:extLst>
              <a:ext uri="{FF2B5EF4-FFF2-40B4-BE49-F238E27FC236}">
                <a16:creationId xmlns:a16="http://schemas.microsoft.com/office/drawing/2014/main" id="{A5E3CCB4-43EF-DB40-B50F-80B1F61C6F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7788" y="4280310"/>
            <a:ext cx="4903755" cy="528302"/>
          </a:xfrm>
        </p:spPr>
        <p:txBody>
          <a:bodyPr numCol="1">
            <a:normAutofit/>
          </a:bodyPr>
          <a:lstStyle>
            <a:lvl1pPr algn="just">
              <a:defRPr sz="2968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4" name="Marcador de texto 3">
            <a:extLst>
              <a:ext uri="{FF2B5EF4-FFF2-40B4-BE49-F238E27FC236}">
                <a16:creationId xmlns:a16="http://schemas.microsoft.com/office/drawing/2014/main" id="{5C2665B6-DB56-C84D-93D8-D2148DCE3E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83741" y="3943529"/>
            <a:ext cx="5934834" cy="513688"/>
          </a:xfrm>
        </p:spPr>
        <p:txBody>
          <a:bodyPr numCol="1">
            <a:noAutofit/>
          </a:bodyPr>
          <a:lstStyle>
            <a:lvl1pPr algn="just">
              <a:defRPr sz="1649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649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25" name="Marcador de texto 15">
            <a:extLst>
              <a:ext uri="{FF2B5EF4-FFF2-40B4-BE49-F238E27FC236}">
                <a16:creationId xmlns:a16="http://schemas.microsoft.com/office/drawing/2014/main" id="{DD88DE94-DE9B-9548-BFC2-D597A4F56D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83396" y="3751561"/>
            <a:ext cx="1203557" cy="690899"/>
          </a:xfrm>
        </p:spPr>
        <p:txBody>
          <a:bodyPr>
            <a:normAutofit/>
          </a:bodyPr>
          <a:lstStyle>
            <a:lvl1pPr algn="just">
              <a:defRPr sz="3298"/>
            </a:lvl1pPr>
            <a:lvl2pPr>
              <a:defRPr sz="3298">
                <a:solidFill>
                  <a:schemeClr val="tx1"/>
                </a:solidFill>
              </a:defRPr>
            </a:lvl2pPr>
            <a:lvl3pPr>
              <a:defRPr sz="3298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27" name="Marcador de texto 3">
            <a:extLst>
              <a:ext uri="{FF2B5EF4-FFF2-40B4-BE49-F238E27FC236}">
                <a16:creationId xmlns:a16="http://schemas.microsoft.com/office/drawing/2014/main" id="{2238F629-2A35-E441-ACA7-961CE41BCB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7787" y="5464536"/>
            <a:ext cx="4894832" cy="527969"/>
          </a:xfrm>
        </p:spPr>
        <p:txBody>
          <a:bodyPr numCol="1">
            <a:normAutofit/>
          </a:bodyPr>
          <a:lstStyle>
            <a:lvl1pPr algn="just">
              <a:defRPr sz="2968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28" name="Marcador de texto 3">
            <a:extLst>
              <a:ext uri="{FF2B5EF4-FFF2-40B4-BE49-F238E27FC236}">
                <a16:creationId xmlns:a16="http://schemas.microsoft.com/office/drawing/2014/main" id="{4799B269-59E4-0B4F-81BF-633D66B8F27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83741" y="5127755"/>
            <a:ext cx="5934834" cy="511591"/>
          </a:xfrm>
        </p:spPr>
        <p:txBody>
          <a:bodyPr numCol="1">
            <a:noAutofit/>
          </a:bodyPr>
          <a:lstStyle>
            <a:lvl1pPr algn="just">
              <a:defRPr sz="1649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649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29" name="Marcador de texto 15">
            <a:extLst>
              <a:ext uri="{FF2B5EF4-FFF2-40B4-BE49-F238E27FC236}">
                <a16:creationId xmlns:a16="http://schemas.microsoft.com/office/drawing/2014/main" id="{BD215A62-CE58-5A40-8F34-663CF9B6DF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83396" y="4935788"/>
            <a:ext cx="1203557" cy="690899"/>
          </a:xfrm>
        </p:spPr>
        <p:txBody>
          <a:bodyPr>
            <a:normAutofit/>
          </a:bodyPr>
          <a:lstStyle>
            <a:lvl1pPr algn="just">
              <a:defRPr sz="3298"/>
            </a:lvl1pPr>
            <a:lvl2pPr>
              <a:defRPr sz="3298">
                <a:solidFill>
                  <a:schemeClr val="tx1"/>
                </a:solidFill>
              </a:defRPr>
            </a:lvl2pPr>
            <a:lvl3pPr>
              <a:defRPr sz="3298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31" name="Marcador de texto 3">
            <a:extLst>
              <a:ext uri="{FF2B5EF4-FFF2-40B4-BE49-F238E27FC236}">
                <a16:creationId xmlns:a16="http://schemas.microsoft.com/office/drawing/2014/main" id="{B497BDA8-8421-3B42-81A4-19F74C79275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7788" y="6664550"/>
            <a:ext cx="4894831" cy="582465"/>
          </a:xfrm>
        </p:spPr>
        <p:txBody>
          <a:bodyPr numCol="1">
            <a:normAutofit/>
          </a:bodyPr>
          <a:lstStyle>
            <a:lvl1pPr algn="just">
              <a:defRPr sz="2968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32" name="Marcador de texto 3">
            <a:extLst>
              <a:ext uri="{FF2B5EF4-FFF2-40B4-BE49-F238E27FC236}">
                <a16:creationId xmlns:a16="http://schemas.microsoft.com/office/drawing/2014/main" id="{1546160F-867A-244D-8E88-CD46998AE63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83741" y="6327770"/>
            <a:ext cx="5934834" cy="498932"/>
          </a:xfrm>
        </p:spPr>
        <p:txBody>
          <a:bodyPr numCol="1">
            <a:noAutofit/>
          </a:bodyPr>
          <a:lstStyle>
            <a:lvl1pPr algn="just">
              <a:defRPr sz="1649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649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33" name="Marcador de texto 15">
            <a:extLst>
              <a:ext uri="{FF2B5EF4-FFF2-40B4-BE49-F238E27FC236}">
                <a16:creationId xmlns:a16="http://schemas.microsoft.com/office/drawing/2014/main" id="{EF575985-D360-5E41-8BDC-2D3954DA68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83396" y="6135802"/>
            <a:ext cx="1203557" cy="690899"/>
          </a:xfrm>
        </p:spPr>
        <p:txBody>
          <a:bodyPr>
            <a:normAutofit/>
          </a:bodyPr>
          <a:lstStyle>
            <a:lvl1pPr algn="just">
              <a:defRPr sz="3298"/>
            </a:lvl1pPr>
            <a:lvl2pPr>
              <a:defRPr sz="3298">
                <a:solidFill>
                  <a:schemeClr val="tx1"/>
                </a:solidFill>
              </a:defRPr>
            </a:lvl2pPr>
            <a:lvl3pPr>
              <a:defRPr sz="3298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35" name="Marcador de texto 3">
            <a:extLst>
              <a:ext uri="{FF2B5EF4-FFF2-40B4-BE49-F238E27FC236}">
                <a16:creationId xmlns:a16="http://schemas.microsoft.com/office/drawing/2014/main" id="{619D7DE5-779D-9A4B-9FD8-5B4C17758E4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7788" y="7840882"/>
            <a:ext cx="4905331" cy="591965"/>
          </a:xfrm>
        </p:spPr>
        <p:txBody>
          <a:bodyPr numCol="1">
            <a:normAutofit/>
          </a:bodyPr>
          <a:lstStyle>
            <a:lvl1pPr algn="just">
              <a:defRPr sz="2968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36" name="Marcador de texto 3">
            <a:extLst>
              <a:ext uri="{FF2B5EF4-FFF2-40B4-BE49-F238E27FC236}">
                <a16:creationId xmlns:a16="http://schemas.microsoft.com/office/drawing/2014/main" id="{354F9FAF-4483-154B-863B-3F4E682EA9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83741" y="7504102"/>
            <a:ext cx="5934834" cy="498931"/>
          </a:xfrm>
        </p:spPr>
        <p:txBody>
          <a:bodyPr numCol="1">
            <a:noAutofit/>
          </a:bodyPr>
          <a:lstStyle>
            <a:lvl1pPr algn="just">
              <a:defRPr sz="1649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649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37" name="Marcador de texto 15">
            <a:extLst>
              <a:ext uri="{FF2B5EF4-FFF2-40B4-BE49-F238E27FC236}">
                <a16:creationId xmlns:a16="http://schemas.microsoft.com/office/drawing/2014/main" id="{3C9D978E-0D85-CF4B-ACA3-2FE2F3B2D1E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883396" y="7312133"/>
            <a:ext cx="1203557" cy="690899"/>
          </a:xfrm>
        </p:spPr>
        <p:txBody>
          <a:bodyPr>
            <a:normAutofit/>
          </a:bodyPr>
          <a:lstStyle>
            <a:lvl1pPr algn="just">
              <a:defRPr sz="3298"/>
            </a:lvl1pPr>
            <a:lvl2pPr>
              <a:defRPr sz="3298">
                <a:solidFill>
                  <a:schemeClr val="tx1"/>
                </a:solidFill>
              </a:defRPr>
            </a:lvl2pPr>
            <a:lvl3pPr>
              <a:defRPr sz="3298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79" name="Marcador de texto 78">
            <a:extLst>
              <a:ext uri="{FF2B5EF4-FFF2-40B4-BE49-F238E27FC236}">
                <a16:creationId xmlns:a16="http://schemas.microsoft.com/office/drawing/2014/main" id="{879DB0AB-F334-5B4C-8040-3E8C91CD21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90368" y="614510"/>
            <a:ext cx="4911175" cy="563269"/>
          </a:xfrm>
        </p:spPr>
        <p:txBody>
          <a:bodyPr>
            <a:normAutofit/>
          </a:bodyPr>
          <a:lstStyle>
            <a:lvl1pPr>
              <a:defRPr sz="2144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84" name="Marcador de texto 83">
            <a:extLst>
              <a:ext uri="{FF2B5EF4-FFF2-40B4-BE49-F238E27FC236}">
                <a16:creationId xmlns:a16="http://schemas.microsoft.com/office/drawing/2014/main" id="{FFB93D1C-610E-6E41-AAF3-2570F640128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4346" y="3753108"/>
            <a:ext cx="4917197" cy="596510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5" name="Marcador de texto 83">
            <a:extLst>
              <a:ext uri="{FF2B5EF4-FFF2-40B4-BE49-F238E27FC236}">
                <a16:creationId xmlns:a16="http://schemas.microsoft.com/office/drawing/2014/main" id="{74986D2B-5EDB-7A46-BCB2-9666E8491ED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84346" y="4931622"/>
            <a:ext cx="4917197" cy="596510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6" name="Marcador de texto 83">
            <a:extLst>
              <a:ext uri="{FF2B5EF4-FFF2-40B4-BE49-F238E27FC236}">
                <a16:creationId xmlns:a16="http://schemas.microsoft.com/office/drawing/2014/main" id="{547051A1-13A5-9141-B86E-40BE492F2C0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84346" y="6124776"/>
            <a:ext cx="4917197" cy="591965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7" name="Marcador de texto 83">
            <a:extLst>
              <a:ext uri="{FF2B5EF4-FFF2-40B4-BE49-F238E27FC236}">
                <a16:creationId xmlns:a16="http://schemas.microsoft.com/office/drawing/2014/main" id="{BBFDF298-028C-DD47-95FB-C8F8D40599D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84346" y="7310609"/>
            <a:ext cx="4932216" cy="591965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8" name="Marcador de texto 83">
            <a:extLst>
              <a:ext uri="{FF2B5EF4-FFF2-40B4-BE49-F238E27FC236}">
                <a16:creationId xmlns:a16="http://schemas.microsoft.com/office/drawing/2014/main" id="{0B90359A-FFF6-0145-9E7E-4AA8EA318B2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84346" y="2559953"/>
            <a:ext cx="4905331" cy="596510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89" name="Marcador de texto 3">
            <a:extLst>
              <a:ext uri="{FF2B5EF4-FFF2-40B4-BE49-F238E27FC236}">
                <a16:creationId xmlns:a16="http://schemas.microsoft.com/office/drawing/2014/main" id="{24F72723-FC1D-4A40-A3CE-0C68981C8F1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205895" y="3088190"/>
            <a:ext cx="4905331" cy="548508"/>
          </a:xfrm>
        </p:spPr>
        <p:txBody>
          <a:bodyPr numCol="1">
            <a:normAutofit/>
          </a:bodyPr>
          <a:lstStyle>
            <a:lvl1pPr algn="just">
              <a:defRPr sz="2968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90" name="Marcador de texto 3">
            <a:extLst>
              <a:ext uri="{FF2B5EF4-FFF2-40B4-BE49-F238E27FC236}">
                <a16:creationId xmlns:a16="http://schemas.microsoft.com/office/drawing/2014/main" id="{D3C329BC-37ED-3642-B6E7-18E8C2DA4A8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2791848" y="2751409"/>
            <a:ext cx="5934834" cy="491038"/>
          </a:xfrm>
        </p:spPr>
        <p:txBody>
          <a:bodyPr numCol="1">
            <a:noAutofit/>
          </a:bodyPr>
          <a:lstStyle>
            <a:lvl1pPr algn="just">
              <a:defRPr sz="1649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649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91" name="Marcador de texto 15">
            <a:extLst>
              <a:ext uri="{FF2B5EF4-FFF2-40B4-BE49-F238E27FC236}">
                <a16:creationId xmlns:a16="http://schemas.microsoft.com/office/drawing/2014/main" id="{B3ECF550-48B2-2843-A029-DE80F2570CE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8391502" y="2559441"/>
            <a:ext cx="1203557" cy="690899"/>
          </a:xfrm>
        </p:spPr>
        <p:txBody>
          <a:bodyPr>
            <a:normAutofit/>
          </a:bodyPr>
          <a:lstStyle>
            <a:lvl1pPr algn="just">
              <a:defRPr sz="3298"/>
            </a:lvl1pPr>
            <a:lvl2pPr>
              <a:defRPr sz="3298">
                <a:solidFill>
                  <a:schemeClr val="tx1"/>
                </a:solidFill>
              </a:defRPr>
            </a:lvl2pPr>
            <a:lvl3pPr>
              <a:defRPr sz="3298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92" name="Marcador de texto 3">
            <a:extLst>
              <a:ext uri="{FF2B5EF4-FFF2-40B4-BE49-F238E27FC236}">
                <a16:creationId xmlns:a16="http://schemas.microsoft.com/office/drawing/2014/main" id="{29CFFEB6-D481-4C48-BFC9-24B890AD222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205895" y="4280310"/>
            <a:ext cx="4905331" cy="528302"/>
          </a:xfrm>
        </p:spPr>
        <p:txBody>
          <a:bodyPr numCol="1">
            <a:normAutofit/>
          </a:bodyPr>
          <a:lstStyle>
            <a:lvl1pPr algn="just">
              <a:defRPr sz="2968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93" name="Marcador de texto 3">
            <a:extLst>
              <a:ext uri="{FF2B5EF4-FFF2-40B4-BE49-F238E27FC236}">
                <a16:creationId xmlns:a16="http://schemas.microsoft.com/office/drawing/2014/main" id="{DCF22A84-AB91-C041-B8E7-7AD902FD02E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2791848" y="3943529"/>
            <a:ext cx="5934834" cy="513688"/>
          </a:xfrm>
        </p:spPr>
        <p:txBody>
          <a:bodyPr numCol="1">
            <a:noAutofit/>
          </a:bodyPr>
          <a:lstStyle>
            <a:lvl1pPr algn="just">
              <a:defRPr sz="1649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649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94" name="Marcador de texto 15">
            <a:extLst>
              <a:ext uri="{FF2B5EF4-FFF2-40B4-BE49-F238E27FC236}">
                <a16:creationId xmlns:a16="http://schemas.microsoft.com/office/drawing/2014/main" id="{8F9EFB6F-1C56-FF4E-983B-DD5BF775159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8391502" y="3751561"/>
            <a:ext cx="1203557" cy="690899"/>
          </a:xfrm>
        </p:spPr>
        <p:txBody>
          <a:bodyPr>
            <a:normAutofit/>
          </a:bodyPr>
          <a:lstStyle>
            <a:lvl1pPr algn="just">
              <a:defRPr sz="3298"/>
            </a:lvl1pPr>
            <a:lvl2pPr>
              <a:defRPr sz="3298">
                <a:solidFill>
                  <a:schemeClr val="tx1"/>
                </a:solidFill>
              </a:defRPr>
            </a:lvl2pPr>
            <a:lvl3pPr>
              <a:defRPr sz="3298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95" name="Marcador de texto 3">
            <a:extLst>
              <a:ext uri="{FF2B5EF4-FFF2-40B4-BE49-F238E27FC236}">
                <a16:creationId xmlns:a16="http://schemas.microsoft.com/office/drawing/2014/main" id="{7A380FF4-DE32-0B49-BA56-808050E0D48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205894" y="5464536"/>
            <a:ext cx="4894832" cy="544091"/>
          </a:xfrm>
        </p:spPr>
        <p:txBody>
          <a:bodyPr numCol="1">
            <a:normAutofit/>
          </a:bodyPr>
          <a:lstStyle>
            <a:lvl1pPr algn="just">
              <a:defRPr sz="2968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96" name="Marcador de texto 3">
            <a:extLst>
              <a:ext uri="{FF2B5EF4-FFF2-40B4-BE49-F238E27FC236}">
                <a16:creationId xmlns:a16="http://schemas.microsoft.com/office/drawing/2014/main" id="{F90E99F0-5358-DD48-8D52-BBC6648DD9D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2791848" y="5127755"/>
            <a:ext cx="5934834" cy="509899"/>
          </a:xfrm>
        </p:spPr>
        <p:txBody>
          <a:bodyPr numCol="1">
            <a:noAutofit/>
          </a:bodyPr>
          <a:lstStyle>
            <a:lvl1pPr algn="just">
              <a:defRPr sz="1649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649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97" name="Marcador de texto 15">
            <a:extLst>
              <a:ext uri="{FF2B5EF4-FFF2-40B4-BE49-F238E27FC236}">
                <a16:creationId xmlns:a16="http://schemas.microsoft.com/office/drawing/2014/main" id="{8865AF38-3DF9-C748-9434-4121CA979ED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8391502" y="4935788"/>
            <a:ext cx="1203557" cy="690899"/>
          </a:xfrm>
        </p:spPr>
        <p:txBody>
          <a:bodyPr>
            <a:normAutofit/>
          </a:bodyPr>
          <a:lstStyle>
            <a:lvl1pPr algn="just">
              <a:defRPr sz="3298"/>
            </a:lvl1pPr>
            <a:lvl2pPr>
              <a:defRPr sz="3298">
                <a:solidFill>
                  <a:schemeClr val="tx1"/>
                </a:solidFill>
              </a:defRPr>
            </a:lvl2pPr>
            <a:lvl3pPr>
              <a:defRPr sz="3298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98" name="Marcador de texto 3">
            <a:extLst>
              <a:ext uri="{FF2B5EF4-FFF2-40B4-BE49-F238E27FC236}">
                <a16:creationId xmlns:a16="http://schemas.microsoft.com/office/drawing/2014/main" id="{12D15972-AEAA-2F46-9AE7-22657A557DC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205894" y="6664550"/>
            <a:ext cx="4894831" cy="529909"/>
          </a:xfrm>
        </p:spPr>
        <p:txBody>
          <a:bodyPr numCol="1">
            <a:normAutofit/>
          </a:bodyPr>
          <a:lstStyle>
            <a:lvl1pPr algn="just">
              <a:defRPr sz="2968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99" name="Marcador de texto 3">
            <a:extLst>
              <a:ext uri="{FF2B5EF4-FFF2-40B4-BE49-F238E27FC236}">
                <a16:creationId xmlns:a16="http://schemas.microsoft.com/office/drawing/2014/main" id="{A4760ED4-46A2-A445-B4CE-F9805FA9277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2791848" y="6327770"/>
            <a:ext cx="5934834" cy="498932"/>
          </a:xfrm>
        </p:spPr>
        <p:txBody>
          <a:bodyPr numCol="1">
            <a:noAutofit/>
          </a:bodyPr>
          <a:lstStyle>
            <a:lvl1pPr algn="just">
              <a:defRPr sz="1649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649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100" name="Marcador de texto 15">
            <a:extLst>
              <a:ext uri="{FF2B5EF4-FFF2-40B4-BE49-F238E27FC236}">
                <a16:creationId xmlns:a16="http://schemas.microsoft.com/office/drawing/2014/main" id="{FEB0E95D-338A-3346-BB70-C8F6FA0DD87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8391502" y="6135802"/>
            <a:ext cx="1203557" cy="690899"/>
          </a:xfrm>
        </p:spPr>
        <p:txBody>
          <a:bodyPr>
            <a:normAutofit/>
          </a:bodyPr>
          <a:lstStyle>
            <a:lvl1pPr algn="just">
              <a:defRPr sz="3298"/>
            </a:lvl1pPr>
            <a:lvl2pPr>
              <a:defRPr sz="3298">
                <a:solidFill>
                  <a:schemeClr val="tx1"/>
                </a:solidFill>
              </a:defRPr>
            </a:lvl2pPr>
            <a:lvl3pPr>
              <a:defRPr sz="3298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101" name="Marcador de texto 3">
            <a:extLst>
              <a:ext uri="{FF2B5EF4-FFF2-40B4-BE49-F238E27FC236}">
                <a16:creationId xmlns:a16="http://schemas.microsoft.com/office/drawing/2014/main" id="{A3F81034-DEB8-AF47-B75A-EC44FCFFBB4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205895" y="7840882"/>
            <a:ext cx="4905331" cy="530748"/>
          </a:xfrm>
        </p:spPr>
        <p:txBody>
          <a:bodyPr numCol="1">
            <a:normAutofit/>
          </a:bodyPr>
          <a:lstStyle>
            <a:lvl1pPr algn="just">
              <a:defRPr sz="2968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/>
            </a:lvl2pPr>
          </a:lstStyle>
          <a:p>
            <a:pPr lvl="0"/>
            <a:r>
              <a:rPr lang="es-ES" err="1"/>
              <a:t>Subheading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02" name="Marcador de texto 3">
            <a:extLst>
              <a:ext uri="{FF2B5EF4-FFF2-40B4-BE49-F238E27FC236}">
                <a16:creationId xmlns:a16="http://schemas.microsoft.com/office/drawing/2014/main" id="{2A538B8E-41CD-4341-AED6-2FFA34B3F03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12791848" y="7504101"/>
            <a:ext cx="5934834" cy="529909"/>
          </a:xfrm>
        </p:spPr>
        <p:txBody>
          <a:bodyPr numCol="1">
            <a:noAutofit/>
          </a:bodyPr>
          <a:lstStyle>
            <a:lvl1pPr algn="just">
              <a:defRPr sz="1649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algn="l">
              <a:buFontTx/>
              <a:buNone/>
              <a:defRPr sz="1649"/>
            </a:lvl2pPr>
          </a:lstStyle>
          <a:p>
            <a:pPr lvl="0"/>
            <a:r>
              <a:rPr lang="es-ES"/>
              <a:t>…………………………………………………….......................</a:t>
            </a:r>
          </a:p>
        </p:txBody>
      </p:sp>
      <p:sp>
        <p:nvSpPr>
          <p:cNvPr id="103" name="Marcador de texto 15">
            <a:extLst>
              <a:ext uri="{FF2B5EF4-FFF2-40B4-BE49-F238E27FC236}">
                <a16:creationId xmlns:a16="http://schemas.microsoft.com/office/drawing/2014/main" id="{173C5E62-67BC-9C45-8601-618E1D179FB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8391502" y="7312133"/>
            <a:ext cx="1203557" cy="690899"/>
          </a:xfrm>
        </p:spPr>
        <p:txBody>
          <a:bodyPr>
            <a:normAutofit/>
          </a:bodyPr>
          <a:lstStyle>
            <a:lvl1pPr algn="just">
              <a:defRPr sz="3298"/>
            </a:lvl1pPr>
            <a:lvl2pPr>
              <a:defRPr sz="3298">
                <a:solidFill>
                  <a:schemeClr val="tx1"/>
                </a:solidFill>
              </a:defRPr>
            </a:lvl2pPr>
            <a:lvl3pPr>
              <a:defRPr sz="3298">
                <a:solidFill>
                  <a:schemeClr val="tx1"/>
                </a:solidFill>
              </a:defRPr>
            </a:lvl3pPr>
          </a:lstStyle>
          <a:p>
            <a:pPr lvl="0"/>
            <a:r>
              <a:rPr lang="es-ES"/>
              <a:t>P.01</a:t>
            </a:r>
          </a:p>
        </p:txBody>
      </p:sp>
      <p:sp>
        <p:nvSpPr>
          <p:cNvPr id="104" name="Marcador de texto 83">
            <a:extLst>
              <a:ext uri="{FF2B5EF4-FFF2-40B4-BE49-F238E27FC236}">
                <a16:creationId xmlns:a16="http://schemas.microsoft.com/office/drawing/2014/main" id="{967DFE4E-11D5-9B48-9787-7C376FDD573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192452" y="3753108"/>
            <a:ext cx="4899949" cy="519307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05" name="Marcador de texto 83">
            <a:extLst>
              <a:ext uri="{FF2B5EF4-FFF2-40B4-BE49-F238E27FC236}">
                <a16:creationId xmlns:a16="http://schemas.microsoft.com/office/drawing/2014/main" id="{A66AEF34-CCE3-244B-9A73-A752C1D152B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10192452" y="4931623"/>
            <a:ext cx="4894831" cy="532913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06" name="Marcador de texto 83">
            <a:extLst>
              <a:ext uri="{FF2B5EF4-FFF2-40B4-BE49-F238E27FC236}">
                <a16:creationId xmlns:a16="http://schemas.microsoft.com/office/drawing/2014/main" id="{2EC5676D-D773-CF40-86EC-47E332356C7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192452" y="6124777"/>
            <a:ext cx="4918773" cy="529909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07" name="Marcador de texto 83">
            <a:extLst>
              <a:ext uri="{FF2B5EF4-FFF2-40B4-BE49-F238E27FC236}">
                <a16:creationId xmlns:a16="http://schemas.microsoft.com/office/drawing/2014/main" id="{AFC92137-6235-2146-8DDC-3CC348067A2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0192452" y="7310609"/>
            <a:ext cx="4905329" cy="519307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08" name="Marcador de texto 83">
            <a:extLst>
              <a:ext uri="{FF2B5EF4-FFF2-40B4-BE49-F238E27FC236}">
                <a16:creationId xmlns:a16="http://schemas.microsoft.com/office/drawing/2014/main" id="{8F8F59DA-8014-C044-83F5-3C1BA460C2B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10192452" y="2559953"/>
            <a:ext cx="4918773" cy="519307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10" name="Marcador de texto 109">
            <a:extLst>
              <a:ext uri="{FF2B5EF4-FFF2-40B4-BE49-F238E27FC236}">
                <a16:creationId xmlns:a16="http://schemas.microsoft.com/office/drawing/2014/main" id="{47572D3A-0640-F64B-B8C7-BC1B9D44655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84347" y="1068328"/>
            <a:ext cx="4932216" cy="712070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Index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18444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Marcador de texto 78">
            <a:extLst>
              <a:ext uri="{FF2B5EF4-FFF2-40B4-BE49-F238E27FC236}">
                <a16:creationId xmlns:a16="http://schemas.microsoft.com/office/drawing/2014/main" id="{879DB0AB-F334-5B4C-8040-3E8C91CD21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90368" y="614510"/>
            <a:ext cx="4911175" cy="563269"/>
          </a:xfrm>
        </p:spPr>
        <p:txBody>
          <a:bodyPr>
            <a:normAutofit/>
          </a:bodyPr>
          <a:lstStyle>
            <a:lvl1pPr>
              <a:defRPr sz="2144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88" name="Marcador de texto 83">
            <a:extLst>
              <a:ext uri="{FF2B5EF4-FFF2-40B4-BE49-F238E27FC236}">
                <a16:creationId xmlns:a16="http://schemas.microsoft.com/office/drawing/2014/main" id="{0B90359A-FFF6-0145-9E7E-4AA8EA318B2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11052" y="2351387"/>
            <a:ext cx="1299506" cy="788963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2144"/>
              </a:spcBef>
              <a:defRPr sz="8905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1.</a:t>
            </a:r>
            <a:br>
              <a:rPr lang="es-ES"/>
            </a:br>
            <a:r>
              <a:rPr lang="es-ES"/>
              <a:t>2.</a:t>
            </a:r>
            <a:br>
              <a:rPr lang="es-ES"/>
            </a:br>
            <a:r>
              <a:rPr lang="es-ES"/>
              <a:t>3.</a:t>
            </a:r>
            <a:br>
              <a:rPr lang="es-ES"/>
            </a:br>
            <a:r>
              <a:rPr lang="es-ES"/>
              <a:t>4.</a:t>
            </a:r>
            <a:br>
              <a:rPr lang="es-ES"/>
            </a:br>
            <a:r>
              <a:rPr lang="es-ES"/>
              <a:t>5.</a:t>
            </a:r>
          </a:p>
        </p:txBody>
      </p:sp>
      <p:sp>
        <p:nvSpPr>
          <p:cNvPr id="110" name="Marcador de texto 109">
            <a:extLst>
              <a:ext uri="{FF2B5EF4-FFF2-40B4-BE49-F238E27FC236}">
                <a16:creationId xmlns:a16="http://schemas.microsoft.com/office/drawing/2014/main" id="{47572D3A-0640-F64B-B8C7-BC1B9D44655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84347" y="1068328"/>
            <a:ext cx="4932216" cy="712070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Index</a:t>
            </a:r>
            <a:endParaRPr lang="es-ES"/>
          </a:p>
        </p:txBody>
      </p:sp>
      <p:sp>
        <p:nvSpPr>
          <p:cNvPr id="44" name="Marcador de texto 83">
            <a:extLst>
              <a:ext uri="{FF2B5EF4-FFF2-40B4-BE49-F238E27FC236}">
                <a16:creationId xmlns:a16="http://schemas.microsoft.com/office/drawing/2014/main" id="{CBF29B9B-8E00-ED48-AEBE-65C3714F5EA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1815204" y="2351387"/>
            <a:ext cx="9723332" cy="788963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2144"/>
              </a:spcBef>
              <a:defRPr sz="8905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23116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Marcador de texto 78">
            <a:extLst>
              <a:ext uri="{FF2B5EF4-FFF2-40B4-BE49-F238E27FC236}">
                <a16:creationId xmlns:a16="http://schemas.microsoft.com/office/drawing/2014/main" id="{879DB0AB-F334-5B4C-8040-3E8C91CD21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74851" y="614510"/>
            <a:ext cx="4911175" cy="563269"/>
          </a:xfrm>
        </p:spPr>
        <p:txBody>
          <a:bodyPr>
            <a:normAutofit/>
          </a:bodyPr>
          <a:lstStyle>
            <a:lvl1pPr>
              <a:defRPr sz="2144" b="1" cap="all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INSERT SUBHEADING</a:t>
            </a:r>
          </a:p>
        </p:txBody>
      </p:sp>
      <p:sp>
        <p:nvSpPr>
          <p:cNvPr id="88" name="Marcador de texto 83">
            <a:extLst>
              <a:ext uri="{FF2B5EF4-FFF2-40B4-BE49-F238E27FC236}">
                <a16:creationId xmlns:a16="http://schemas.microsoft.com/office/drawing/2014/main" id="{0B90359A-FFF6-0145-9E7E-4AA8EA318B2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56266" y="2322179"/>
            <a:ext cx="2154976" cy="146866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2144"/>
              </a:spcBef>
              <a:defRPr sz="8905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110" name="Marcador de texto 109">
            <a:extLst>
              <a:ext uri="{FF2B5EF4-FFF2-40B4-BE49-F238E27FC236}">
                <a16:creationId xmlns:a16="http://schemas.microsoft.com/office/drawing/2014/main" id="{47572D3A-0640-F64B-B8C7-BC1B9D44655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68831" y="1068328"/>
            <a:ext cx="4932216" cy="712070"/>
          </a:xfrm>
        </p:spPr>
        <p:txBody>
          <a:bodyPr>
            <a:normAutofit/>
          </a:bodyPr>
          <a:lstStyle>
            <a:lvl1pPr>
              <a:defRPr sz="3298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 err="1"/>
              <a:t>Index</a:t>
            </a:r>
            <a:endParaRPr lang="es-E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C3542EB-847A-134C-87D5-341B3F888D0F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82509" y="3761408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ED21A4EA-B7DC-2249-9BBA-4D41A99B3CE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82509" y="4741551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18" name="Marcador de texto 83">
            <a:extLst>
              <a:ext uri="{FF2B5EF4-FFF2-40B4-BE49-F238E27FC236}">
                <a16:creationId xmlns:a16="http://schemas.microsoft.com/office/drawing/2014/main" id="{846ACD11-B8D6-D347-834E-2FFC4F767897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418425" y="2322179"/>
            <a:ext cx="2154976" cy="146866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2144"/>
              </a:spcBef>
              <a:defRPr sz="8905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19" name="Marcador de texto 2">
            <a:extLst>
              <a:ext uri="{FF2B5EF4-FFF2-40B4-BE49-F238E27FC236}">
                <a16:creationId xmlns:a16="http://schemas.microsoft.com/office/drawing/2014/main" id="{85611C3A-E7BA-8741-B713-7ECF35C208CF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444668" y="3761408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0" name="Marcador de texto 2">
            <a:extLst>
              <a:ext uri="{FF2B5EF4-FFF2-40B4-BE49-F238E27FC236}">
                <a16:creationId xmlns:a16="http://schemas.microsoft.com/office/drawing/2014/main" id="{3847668A-0F13-FD40-99C9-7D211293DC7B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444668" y="4741551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1" name="Marcador de texto 83">
            <a:extLst>
              <a:ext uri="{FF2B5EF4-FFF2-40B4-BE49-F238E27FC236}">
                <a16:creationId xmlns:a16="http://schemas.microsoft.com/office/drawing/2014/main" id="{2A5ED1A7-3C9E-0A47-A8B4-C2B3AC78C142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0155454" y="2322179"/>
            <a:ext cx="2154976" cy="146866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2144"/>
              </a:spcBef>
              <a:defRPr sz="8905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22" name="Marcador de texto 2">
            <a:extLst>
              <a:ext uri="{FF2B5EF4-FFF2-40B4-BE49-F238E27FC236}">
                <a16:creationId xmlns:a16="http://schemas.microsoft.com/office/drawing/2014/main" id="{665B95A9-6987-F748-AD20-7165E5E8CEE2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10181697" y="3761408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3" name="Marcador de texto 2">
            <a:extLst>
              <a:ext uri="{FF2B5EF4-FFF2-40B4-BE49-F238E27FC236}">
                <a16:creationId xmlns:a16="http://schemas.microsoft.com/office/drawing/2014/main" id="{7991601E-FE13-004A-B235-1C7E12150DAE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10181697" y="4741551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4" name="Marcador de texto 83">
            <a:extLst>
              <a:ext uri="{FF2B5EF4-FFF2-40B4-BE49-F238E27FC236}">
                <a16:creationId xmlns:a16="http://schemas.microsoft.com/office/drawing/2014/main" id="{B55C8E76-6CFF-6040-8FA8-33F63C85CEBF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14905047" y="2322179"/>
            <a:ext cx="2154976" cy="146866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2144"/>
              </a:spcBef>
              <a:defRPr sz="8905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25" name="Marcador de texto 2">
            <a:extLst>
              <a:ext uri="{FF2B5EF4-FFF2-40B4-BE49-F238E27FC236}">
                <a16:creationId xmlns:a16="http://schemas.microsoft.com/office/drawing/2014/main" id="{69111C5F-2E5B-A941-97B9-DF3CB7452A8A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14931290" y="3761408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6" name="Marcador de texto 2">
            <a:extLst>
              <a:ext uri="{FF2B5EF4-FFF2-40B4-BE49-F238E27FC236}">
                <a16:creationId xmlns:a16="http://schemas.microsoft.com/office/drawing/2014/main" id="{E44F70FF-0454-5A49-B7FE-A299E03161D3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14931290" y="4741551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7" name="Marcador de texto 83">
            <a:extLst>
              <a:ext uri="{FF2B5EF4-FFF2-40B4-BE49-F238E27FC236}">
                <a16:creationId xmlns:a16="http://schemas.microsoft.com/office/drawing/2014/main" id="{C6EFC7DE-FDA3-344F-BA47-77E74A7AB00F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56266" y="6267886"/>
            <a:ext cx="2154976" cy="146866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2144"/>
              </a:spcBef>
              <a:defRPr sz="8905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28" name="Marcador de texto 2">
            <a:extLst>
              <a:ext uri="{FF2B5EF4-FFF2-40B4-BE49-F238E27FC236}">
                <a16:creationId xmlns:a16="http://schemas.microsoft.com/office/drawing/2014/main" id="{DEDD6D48-A77A-1B42-A0A7-7C1FA8FB2361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682509" y="7707114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29" name="Marcador de texto 2">
            <a:extLst>
              <a:ext uri="{FF2B5EF4-FFF2-40B4-BE49-F238E27FC236}">
                <a16:creationId xmlns:a16="http://schemas.microsoft.com/office/drawing/2014/main" id="{339E1E00-EF43-9842-A5D4-7D893A6A21DA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82509" y="8687258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0" name="Marcador de texto 83">
            <a:extLst>
              <a:ext uri="{FF2B5EF4-FFF2-40B4-BE49-F238E27FC236}">
                <a16:creationId xmlns:a16="http://schemas.microsoft.com/office/drawing/2014/main" id="{3609BFF5-C0EC-C74B-BAC5-C6247F87A159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5418425" y="6267886"/>
            <a:ext cx="2154976" cy="146866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2144"/>
              </a:spcBef>
              <a:defRPr sz="8905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31" name="Marcador de texto 2">
            <a:extLst>
              <a:ext uri="{FF2B5EF4-FFF2-40B4-BE49-F238E27FC236}">
                <a16:creationId xmlns:a16="http://schemas.microsoft.com/office/drawing/2014/main" id="{A2D9B95A-6F51-704A-8164-AE4376A52455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5444668" y="7707114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2" name="Marcador de texto 2">
            <a:extLst>
              <a:ext uri="{FF2B5EF4-FFF2-40B4-BE49-F238E27FC236}">
                <a16:creationId xmlns:a16="http://schemas.microsoft.com/office/drawing/2014/main" id="{347D8AC6-F6F7-AB40-BDAE-DFA1A20F303C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5444668" y="8687258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3" name="Marcador de texto 83">
            <a:extLst>
              <a:ext uri="{FF2B5EF4-FFF2-40B4-BE49-F238E27FC236}">
                <a16:creationId xmlns:a16="http://schemas.microsoft.com/office/drawing/2014/main" id="{2175621C-7D22-9246-842E-EBEBA072199D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10155454" y="6267886"/>
            <a:ext cx="2154976" cy="146866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2144"/>
              </a:spcBef>
              <a:defRPr sz="8905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34" name="Marcador de texto 2">
            <a:extLst>
              <a:ext uri="{FF2B5EF4-FFF2-40B4-BE49-F238E27FC236}">
                <a16:creationId xmlns:a16="http://schemas.microsoft.com/office/drawing/2014/main" id="{857887B0-767A-9D43-9C2D-CFE8C77727A7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10181697" y="7707114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5" name="Marcador de texto 2">
            <a:extLst>
              <a:ext uri="{FF2B5EF4-FFF2-40B4-BE49-F238E27FC236}">
                <a16:creationId xmlns:a16="http://schemas.microsoft.com/office/drawing/2014/main" id="{79494816-53D2-E340-A80C-F39EE826D985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0181697" y="8687258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6" name="Marcador de texto 83">
            <a:extLst>
              <a:ext uri="{FF2B5EF4-FFF2-40B4-BE49-F238E27FC236}">
                <a16:creationId xmlns:a16="http://schemas.microsoft.com/office/drawing/2014/main" id="{E903AC53-87A3-6E4D-820F-7A4F85097C47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14905047" y="6267886"/>
            <a:ext cx="2154976" cy="146866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2144"/>
              </a:spcBef>
              <a:defRPr sz="8905" b="1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01</a:t>
            </a:r>
          </a:p>
        </p:txBody>
      </p:sp>
      <p:sp>
        <p:nvSpPr>
          <p:cNvPr id="37" name="Marcador de texto 2">
            <a:extLst>
              <a:ext uri="{FF2B5EF4-FFF2-40B4-BE49-F238E27FC236}">
                <a16:creationId xmlns:a16="http://schemas.microsoft.com/office/drawing/2014/main" id="{46EEBF2D-185D-3F40-90DD-563D0093C87E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14931290" y="7707114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/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Title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  <p:sp>
        <p:nvSpPr>
          <p:cNvPr id="38" name="Marcador de texto 2">
            <a:extLst>
              <a:ext uri="{FF2B5EF4-FFF2-40B4-BE49-F238E27FC236}">
                <a16:creationId xmlns:a16="http://schemas.microsoft.com/office/drawing/2014/main" id="{F0CFAD44-F620-CD41-8005-F4C6AADCED77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14931290" y="8687258"/>
            <a:ext cx="4309294" cy="1063917"/>
          </a:xfrm>
        </p:spPr>
        <p:txBody>
          <a:bodyPr>
            <a:normAutofit/>
          </a:bodyPr>
          <a:lstStyle>
            <a:lvl1pPr>
              <a:spcBef>
                <a:spcPts val="660"/>
              </a:spcBef>
              <a:defRPr sz="2968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 err="1"/>
              <a:t>Chapter</a:t>
            </a:r>
            <a:r>
              <a:rPr lang="es-ES"/>
              <a:t> </a:t>
            </a:r>
            <a:r>
              <a:rPr lang="es-ES" err="1"/>
              <a:t>Description</a:t>
            </a:r>
            <a:br>
              <a:rPr lang="es-ES"/>
            </a:br>
            <a:r>
              <a:rPr lang="es-ES"/>
              <a:t>Max 2 </a:t>
            </a:r>
            <a:r>
              <a:rPr lang="es-ES" err="1"/>
              <a:t>lines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53652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28" b="1" i="0">
                <a:solidFill>
                  <a:srgbClr val="0066FF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2638" b="1" i="0">
                <a:solidFill>
                  <a:srgbClr val="0066FF"/>
                </a:solidFill>
                <a:latin typeface="Century Gothic"/>
                <a:cs typeface="Century Gothic"/>
              </a:defRPr>
            </a:lvl1pPr>
          </a:lstStyle>
          <a:p>
            <a:pPr marL="20942">
              <a:spcBef>
                <a:spcPts val="181"/>
              </a:spcBef>
            </a:pPr>
            <a:r>
              <a:rPr lang="es-ES" spc="8"/>
              <a:t>FONDOS</a:t>
            </a:r>
            <a:r>
              <a:rPr lang="es-ES" spc="-165"/>
              <a:t> </a:t>
            </a:r>
            <a:r>
              <a:rPr lang="es-ES" spc="115"/>
              <a:t>EUROPEOS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7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2638" b="1" i="0">
                <a:solidFill>
                  <a:srgbClr val="0066FF"/>
                </a:solidFill>
                <a:latin typeface="Century Gothic"/>
                <a:cs typeface="Century Gothic"/>
              </a:defRPr>
            </a:lvl1pPr>
          </a:lstStyle>
          <a:p>
            <a:pPr marL="62827">
              <a:spcBef>
                <a:spcPts val="181"/>
              </a:spcBef>
            </a:pPr>
            <a:fld id="{81D60167-4931-47E6-BA6A-407CBD079E47}" type="slidenum">
              <a:rPr lang="es-ES" spc="33" smtClean="0"/>
              <a:pPr marL="62827">
                <a:spcBef>
                  <a:spcPts val="181"/>
                </a:spcBef>
              </a:pPr>
              <a:t>‹Nº›</a:t>
            </a:fld>
            <a:endParaRPr lang="es-ES" spc="33"/>
          </a:p>
        </p:txBody>
      </p:sp>
    </p:spTree>
    <p:extLst>
      <p:ext uri="{BB962C8B-B14F-4D97-AF65-F5344CB8AC3E}">
        <p14:creationId xmlns:p14="http://schemas.microsoft.com/office/powerpoint/2010/main" val="34169599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ndo_Azul_Titular_Blanc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13" y="4245735"/>
            <a:ext cx="15653167" cy="2185952"/>
          </a:xfrm>
          <a:noFill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2801" y="6922505"/>
            <a:ext cx="15623046" cy="179326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10324EC9-24C7-174D-B246-CAB9B044A8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9505" y="686334"/>
            <a:ext cx="3289992" cy="936877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75565342-32F0-F042-AECF-681BA10181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48831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765592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g object 17"/>
          <p:cNvSpPr/>
          <p:nvPr/>
        </p:nvSpPr>
        <p:spPr>
          <a:xfrm>
            <a:off x="1153535" y="5896925"/>
            <a:ext cx="3589420" cy="3567681"/>
          </a:xfrm>
          <a:custGeom>
            <a:avLst/>
            <a:gdLst/>
            <a:ahLst/>
            <a:cxnLst/>
            <a:rect l="l" t="t" r="r" b="b"/>
            <a:pathLst>
              <a:path w="2176780" h="2163445">
                <a:moveTo>
                  <a:pt x="304761" y="1031709"/>
                </a:moveTo>
                <a:lnTo>
                  <a:pt x="190017" y="1031100"/>
                </a:lnTo>
                <a:lnTo>
                  <a:pt x="150723" y="923290"/>
                </a:lnTo>
                <a:lnTo>
                  <a:pt x="114681" y="1032230"/>
                </a:lnTo>
                <a:lnTo>
                  <a:pt x="0" y="1036281"/>
                </a:lnTo>
                <a:lnTo>
                  <a:pt x="92468" y="1104226"/>
                </a:lnTo>
                <a:lnTo>
                  <a:pt x="60896" y="1214539"/>
                </a:lnTo>
                <a:lnTo>
                  <a:pt x="154089" y="1147597"/>
                </a:lnTo>
                <a:lnTo>
                  <a:pt x="249250" y="1211732"/>
                </a:lnTo>
                <a:lnTo>
                  <a:pt x="214376" y="1102398"/>
                </a:lnTo>
                <a:lnTo>
                  <a:pt x="304761" y="1031709"/>
                </a:lnTo>
                <a:close/>
              </a:path>
              <a:path w="2176780" h="2163445">
                <a:moveTo>
                  <a:pt x="429298" y="1503845"/>
                </a:moveTo>
                <a:lnTo>
                  <a:pt x="314553" y="1503222"/>
                </a:lnTo>
                <a:lnTo>
                  <a:pt x="275259" y="1395412"/>
                </a:lnTo>
                <a:lnTo>
                  <a:pt x="239217" y="1504353"/>
                </a:lnTo>
                <a:lnTo>
                  <a:pt x="124536" y="1508404"/>
                </a:lnTo>
                <a:lnTo>
                  <a:pt x="217004" y="1576362"/>
                </a:lnTo>
                <a:lnTo>
                  <a:pt x="185432" y="1686674"/>
                </a:lnTo>
                <a:lnTo>
                  <a:pt x="278625" y="1619732"/>
                </a:lnTo>
                <a:lnTo>
                  <a:pt x="373786" y="1683854"/>
                </a:lnTo>
                <a:lnTo>
                  <a:pt x="338912" y="1574520"/>
                </a:lnTo>
                <a:lnTo>
                  <a:pt x="429298" y="1503845"/>
                </a:lnTo>
                <a:close/>
              </a:path>
              <a:path w="2176780" h="2163445">
                <a:moveTo>
                  <a:pt x="429298" y="587197"/>
                </a:moveTo>
                <a:lnTo>
                  <a:pt x="314553" y="586587"/>
                </a:lnTo>
                <a:lnTo>
                  <a:pt x="275259" y="478777"/>
                </a:lnTo>
                <a:lnTo>
                  <a:pt x="239217" y="587717"/>
                </a:lnTo>
                <a:lnTo>
                  <a:pt x="124536" y="591769"/>
                </a:lnTo>
                <a:lnTo>
                  <a:pt x="217004" y="659714"/>
                </a:lnTo>
                <a:lnTo>
                  <a:pt x="185432" y="770026"/>
                </a:lnTo>
                <a:lnTo>
                  <a:pt x="278625" y="703084"/>
                </a:lnTo>
                <a:lnTo>
                  <a:pt x="373786" y="767207"/>
                </a:lnTo>
                <a:lnTo>
                  <a:pt x="338912" y="657885"/>
                </a:lnTo>
                <a:lnTo>
                  <a:pt x="429298" y="587197"/>
                </a:lnTo>
                <a:close/>
              </a:path>
              <a:path w="2176780" h="2163445">
                <a:moveTo>
                  <a:pt x="778014" y="1854504"/>
                </a:moveTo>
                <a:lnTo>
                  <a:pt x="663270" y="1853882"/>
                </a:lnTo>
                <a:lnTo>
                  <a:pt x="623976" y="1746072"/>
                </a:lnTo>
                <a:lnTo>
                  <a:pt x="587933" y="1855012"/>
                </a:lnTo>
                <a:lnTo>
                  <a:pt x="473252" y="1859064"/>
                </a:lnTo>
                <a:lnTo>
                  <a:pt x="565721" y="1927009"/>
                </a:lnTo>
                <a:lnTo>
                  <a:pt x="534149" y="2037321"/>
                </a:lnTo>
                <a:lnTo>
                  <a:pt x="627341" y="1970379"/>
                </a:lnTo>
                <a:lnTo>
                  <a:pt x="722503" y="2034514"/>
                </a:lnTo>
                <a:lnTo>
                  <a:pt x="687628" y="1925180"/>
                </a:lnTo>
                <a:lnTo>
                  <a:pt x="778014" y="1854504"/>
                </a:lnTo>
                <a:close/>
              </a:path>
              <a:path w="2176780" h="2163445">
                <a:moveTo>
                  <a:pt x="778014" y="228282"/>
                </a:moveTo>
                <a:lnTo>
                  <a:pt x="663270" y="227660"/>
                </a:lnTo>
                <a:lnTo>
                  <a:pt x="623976" y="119862"/>
                </a:lnTo>
                <a:lnTo>
                  <a:pt x="587933" y="228803"/>
                </a:lnTo>
                <a:lnTo>
                  <a:pt x="473252" y="232854"/>
                </a:lnTo>
                <a:lnTo>
                  <a:pt x="565721" y="300799"/>
                </a:lnTo>
                <a:lnTo>
                  <a:pt x="534149" y="411111"/>
                </a:lnTo>
                <a:lnTo>
                  <a:pt x="627341" y="344170"/>
                </a:lnTo>
                <a:lnTo>
                  <a:pt x="722503" y="408292"/>
                </a:lnTo>
                <a:lnTo>
                  <a:pt x="687628" y="298970"/>
                </a:lnTo>
                <a:lnTo>
                  <a:pt x="778014" y="228282"/>
                </a:lnTo>
                <a:close/>
              </a:path>
              <a:path w="2176780" h="2163445">
                <a:moveTo>
                  <a:pt x="1219758" y="1980361"/>
                </a:moveTo>
                <a:lnTo>
                  <a:pt x="1105014" y="1979739"/>
                </a:lnTo>
                <a:lnTo>
                  <a:pt x="1065720" y="1871941"/>
                </a:lnTo>
                <a:lnTo>
                  <a:pt x="1029677" y="1980869"/>
                </a:lnTo>
                <a:lnTo>
                  <a:pt x="914996" y="1984921"/>
                </a:lnTo>
                <a:lnTo>
                  <a:pt x="1007465" y="2052878"/>
                </a:lnTo>
                <a:lnTo>
                  <a:pt x="975893" y="2163191"/>
                </a:lnTo>
                <a:lnTo>
                  <a:pt x="1069086" y="2096249"/>
                </a:lnTo>
                <a:lnTo>
                  <a:pt x="1164247" y="2160371"/>
                </a:lnTo>
                <a:lnTo>
                  <a:pt x="1129372" y="2051050"/>
                </a:lnTo>
                <a:lnTo>
                  <a:pt x="1219758" y="1980361"/>
                </a:lnTo>
                <a:close/>
              </a:path>
              <a:path w="2176780" h="2163445">
                <a:moveTo>
                  <a:pt x="1219758" y="108419"/>
                </a:moveTo>
                <a:lnTo>
                  <a:pt x="1105014" y="107810"/>
                </a:lnTo>
                <a:lnTo>
                  <a:pt x="1065720" y="0"/>
                </a:lnTo>
                <a:lnTo>
                  <a:pt x="1029677" y="108940"/>
                </a:lnTo>
                <a:lnTo>
                  <a:pt x="914996" y="112991"/>
                </a:lnTo>
                <a:lnTo>
                  <a:pt x="1007465" y="180936"/>
                </a:lnTo>
                <a:lnTo>
                  <a:pt x="975893" y="291249"/>
                </a:lnTo>
                <a:lnTo>
                  <a:pt x="1069086" y="224307"/>
                </a:lnTo>
                <a:lnTo>
                  <a:pt x="1164247" y="288442"/>
                </a:lnTo>
                <a:lnTo>
                  <a:pt x="1129372" y="179108"/>
                </a:lnTo>
                <a:lnTo>
                  <a:pt x="1219758" y="108419"/>
                </a:lnTo>
                <a:close/>
              </a:path>
              <a:path w="2176780" h="2163445">
                <a:moveTo>
                  <a:pt x="1373847" y="702170"/>
                </a:moveTo>
                <a:lnTo>
                  <a:pt x="1339583" y="685114"/>
                </a:lnTo>
                <a:lnTo>
                  <a:pt x="1300035" y="669798"/>
                </a:lnTo>
                <a:lnTo>
                  <a:pt x="1253312" y="657390"/>
                </a:lnTo>
                <a:lnTo>
                  <a:pt x="1197495" y="649084"/>
                </a:lnTo>
                <a:lnTo>
                  <a:pt x="1130681" y="646061"/>
                </a:lnTo>
                <a:lnTo>
                  <a:pt x="1081951" y="648563"/>
                </a:lnTo>
                <a:lnTo>
                  <a:pt x="1034859" y="656031"/>
                </a:lnTo>
                <a:lnTo>
                  <a:pt x="989761" y="668375"/>
                </a:lnTo>
                <a:lnTo>
                  <a:pt x="947026" y="685507"/>
                </a:lnTo>
                <a:lnTo>
                  <a:pt x="906983" y="707351"/>
                </a:lnTo>
                <a:lnTo>
                  <a:pt x="870013" y="733806"/>
                </a:lnTo>
                <a:lnTo>
                  <a:pt x="836472" y="764806"/>
                </a:lnTo>
                <a:lnTo>
                  <a:pt x="806704" y="800252"/>
                </a:lnTo>
                <a:lnTo>
                  <a:pt x="781088" y="840079"/>
                </a:lnTo>
                <a:lnTo>
                  <a:pt x="759968" y="884174"/>
                </a:lnTo>
                <a:lnTo>
                  <a:pt x="743712" y="932484"/>
                </a:lnTo>
                <a:lnTo>
                  <a:pt x="625627" y="932484"/>
                </a:lnTo>
                <a:lnTo>
                  <a:pt x="625627" y="1022515"/>
                </a:lnTo>
                <a:lnTo>
                  <a:pt x="727354" y="1022515"/>
                </a:lnTo>
                <a:lnTo>
                  <a:pt x="726173" y="1066927"/>
                </a:lnTo>
                <a:lnTo>
                  <a:pt x="727354" y="1111364"/>
                </a:lnTo>
                <a:lnTo>
                  <a:pt x="625627" y="1111364"/>
                </a:lnTo>
                <a:lnTo>
                  <a:pt x="625627" y="1201381"/>
                </a:lnTo>
                <a:lnTo>
                  <a:pt x="743712" y="1201381"/>
                </a:lnTo>
                <a:lnTo>
                  <a:pt x="759968" y="1249680"/>
                </a:lnTo>
                <a:lnTo>
                  <a:pt x="781088" y="1293787"/>
                </a:lnTo>
                <a:lnTo>
                  <a:pt x="806704" y="1333614"/>
                </a:lnTo>
                <a:lnTo>
                  <a:pt x="836472" y="1369060"/>
                </a:lnTo>
                <a:lnTo>
                  <a:pt x="870013" y="1400060"/>
                </a:lnTo>
                <a:lnTo>
                  <a:pt x="906983" y="1426527"/>
                </a:lnTo>
                <a:lnTo>
                  <a:pt x="947026" y="1448358"/>
                </a:lnTo>
                <a:lnTo>
                  <a:pt x="989761" y="1465491"/>
                </a:lnTo>
                <a:lnTo>
                  <a:pt x="1034859" y="1477835"/>
                </a:lnTo>
                <a:lnTo>
                  <a:pt x="1081951" y="1485303"/>
                </a:lnTo>
                <a:lnTo>
                  <a:pt x="1130681" y="1487817"/>
                </a:lnTo>
                <a:lnTo>
                  <a:pt x="1197495" y="1484668"/>
                </a:lnTo>
                <a:lnTo>
                  <a:pt x="1253312" y="1476133"/>
                </a:lnTo>
                <a:lnTo>
                  <a:pt x="1300035" y="1463560"/>
                </a:lnTo>
                <a:lnTo>
                  <a:pt x="1339583" y="1448308"/>
                </a:lnTo>
                <a:lnTo>
                  <a:pt x="1373847" y="1431696"/>
                </a:lnTo>
                <a:lnTo>
                  <a:pt x="1373847" y="1318285"/>
                </a:lnTo>
                <a:lnTo>
                  <a:pt x="1338287" y="1335341"/>
                </a:lnTo>
                <a:lnTo>
                  <a:pt x="1298905" y="1350657"/>
                </a:lnTo>
                <a:lnTo>
                  <a:pt x="1253566" y="1363065"/>
                </a:lnTo>
                <a:lnTo>
                  <a:pt x="1200150" y="1371371"/>
                </a:lnTo>
                <a:lnTo>
                  <a:pt x="1136523" y="1374406"/>
                </a:lnTo>
                <a:lnTo>
                  <a:pt x="1089012" y="1371193"/>
                </a:lnTo>
                <a:lnTo>
                  <a:pt x="1043317" y="1361363"/>
                </a:lnTo>
                <a:lnTo>
                  <a:pt x="1000417" y="1344587"/>
                </a:lnTo>
                <a:lnTo>
                  <a:pt x="961250" y="1320520"/>
                </a:lnTo>
                <a:lnTo>
                  <a:pt x="926782" y="1288846"/>
                </a:lnTo>
                <a:lnTo>
                  <a:pt x="897991" y="1249248"/>
                </a:lnTo>
                <a:lnTo>
                  <a:pt x="875817" y="1201381"/>
                </a:lnTo>
                <a:lnTo>
                  <a:pt x="1216025" y="1201381"/>
                </a:lnTo>
                <a:lnTo>
                  <a:pt x="1216025" y="1111364"/>
                </a:lnTo>
                <a:lnTo>
                  <a:pt x="857110" y="1111364"/>
                </a:lnTo>
                <a:lnTo>
                  <a:pt x="856259" y="1100632"/>
                </a:lnTo>
                <a:lnTo>
                  <a:pt x="854976" y="1078306"/>
                </a:lnTo>
                <a:lnTo>
                  <a:pt x="854773" y="1066927"/>
                </a:lnTo>
                <a:lnTo>
                  <a:pt x="854976" y="1055547"/>
                </a:lnTo>
                <a:lnTo>
                  <a:pt x="855510" y="1044282"/>
                </a:lnTo>
                <a:lnTo>
                  <a:pt x="857110" y="1022515"/>
                </a:lnTo>
                <a:lnTo>
                  <a:pt x="1216025" y="1022515"/>
                </a:lnTo>
                <a:lnTo>
                  <a:pt x="1216025" y="932484"/>
                </a:lnTo>
                <a:lnTo>
                  <a:pt x="875817" y="932484"/>
                </a:lnTo>
                <a:lnTo>
                  <a:pt x="897991" y="884618"/>
                </a:lnTo>
                <a:lnTo>
                  <a:pt x="926782" y="845007"/>
                </a:lnTo>
                <a:lnTo>
                  <a:pt x="961250" y="813333"/>
                </a:lnTo>
                <a:lnTo>
                  <a:pt x="1000417" y="789279"/>
                </a:lnTo>
                <a:lnTo>
                  <a:pt x="1043317" y="772490"/>
                </a:lnTo>
                <a:lnTo>
                  <a:pt x="1089012" y="762660"/>
                </a:lnTo>
                <a:lnTo>
                  <a:pt x="1136523" y="759460"/>
                </a:lnTo>
                <a:lnTo>
                  <a:pt x="1200150" y="762482"/>
                </a:lnTo>
                <a:lnTo>
                  <a:pt x="1253566" y="770788"/>
                </a:lnTo>
                <a:lnTo>
                  <a:pt x="1298905" y="783196"/>
                </a:lnTo>
                <a:lnTo>
                  <a:pt x="1338287" y="798512"/>
                </a:lnTo>
                <a:lnTo>
                  <a:pt x="1373847" y="815568"/>
                </a:lnTo>
                <a:lnTo>
                  <a:pt x="1373847" y="702170"/>
                </a:lnTo>
                <a:close/>
              </a:path>
              <a:path w="2176780" h="2163445">
                <a:moveTo>
                  <a:pt x="1686369" y="1854504"/>
                </a:moveTo>
                <a:lnTo>
                  <a:pt x="1571625" y="1853882"/>
                </a:lnTo>
                <a:lnTo>
                  <a:pt x="1532331" y="1746072"/>
                </a:lnTo>
                <a:lnTo>
                  <a:pt x="1496275" y="1855012"/>
                </a:lnTo>
                <a:lnTo>
                  <a:pt x="1381607" y="1859064"/>
                </a:lnTo>
                <a:lnTo>
                  <a:pt x="1474076" y="1927009"/>
                </a:lnTo>
                <a:lnTo>
                  <a:pt x="1442504" y="2037321"/>
                </a:lnTo>
                <a:lnTo>
                  <a:pt x="1535684" y="1970379"/>
                </a:lnTo>
                <a:lnTo>
                  <a:pt x="1630857" y="2034514"/>
                </a:lnTo>
                <a:lnTo>
                  <a:pt x="1595970" y="1925180"/>
                </a:lnTo>
                <a:lnTo>
                  <a:pt x="1686369" y="1854504"/>
                </a:lnTo>
                <a:close/>
              </a:path>
              <a:path w="2176780" h="2163445">
                <a:moveTo>
                  <a:pt x="1686369" y="228282"/>
                </a:moveTo>
                <a:lnTo>
                  <a:pt x="1571625" y="227660"/>
                </a:lnTo>
                <a:lnTo>
                  <a:pt x="1532331" y="119862"/>
                </a:lnTo>
                <a:lnTo>
                  <a:pt x="1496275" y="228803"/>
                </a:lnTo>
                <a:lnTo>
                  <a:pt x="1381607" y="232854"/>
                </a:lnTo>
                <a:lnTo>
                  <a:pt x="1474076" y="300799"/>
                </a:lnTo>
                <a:lnTo>
                  <a:pt x="1442504" y="411111"/>
                </a:lnTo>
                <a:lnTo>
                  <a:pt x="1535684" y="344170"/>
                </a:lnTo>
                <a:lnTo>
                  <a:pt x="1630857" y="408292"/>
                </a:lnTo>
                <a:lnTo>
                  <a:pt x="1595970" y="298970"/>
                </a:lnTo>
                <a:lnTo>
                  <a:pt x="1686369" y="228282"/>
                </a:lnTo>
                <a:close/>
              </a:path>
              <a:path w="2176780" h="2163445">
                <a:moveTo>
                  <a:pt x="2051685" y="1503845"/>
                </a:moveTo>
                <a:lnTo>
                  <a:pt x="1936940" y="1503222"/>
                </a:lnTo>
                <a:lnTo>
                  <a:pt x="1897646" y="1395412"/>
                </a:lnTo>
                <a:lnTo>
                  <a:pt x="1861604" y="1504353"/>
                </a:lnTo>
                <a:lnTo>
                  <a:pt x="1746923" y="1508404"/>
                </a:lnTo>
                <a:lnTo>
                  <a:pt x="1839391" y="1576362"/>
                </a:lnTo>
                <a:lnTo>
                  <a:pt x="1807819" y="1686674"/>
                </a:lnTo>
                <a:lnTo>
                  <a:pt x="1901012" y="1619732"/>
                </a:lnTo>
                <a:lnTo>
                  <a:pt x="1996173" y="1683854"/>
                </a:lnTo>
                <a:lnTo>
                  <a:pt x="1961299" y="1574520"/>
                </a:lnTo>
                <a:lnTo>
                  <a:pt x="2051685" y="1503845"/>
                </a:lnTo>
                <a:close/>
              </a:path>
              <a:path w="2176780" h="2163445">
                <a:moveTo>
                  <a:pt x="2051685" y="587197"/>
                </a:moveTo>
                <a:lnTo>
                  <a:pt x="1936940" y="586587"/>
                </a:lnTo>
                <a:lnTo>
                  <a:pt x="1897646" y="478777"/>
                </a:lnTo>
                <a:lnTo>
                  <a:pt x="1861604" y="587717"/>
                </a:lnTo>
                <a:lnTo>
                  <a:pt x="1746923" y="591769"/>
                </a:lnTo>
                <a:lnTo>
                  <a:pt x="1839391" y="659714"/>
                </a:lnTo>
                <a:lnTo>
                  <a:pt x="1807819" y="770026"/>
                </a:lnTo>
                <a:lnTo>
                  <a:pt x="1901012" y="703084"/>
                </a:lnTo>
                <a:lnTo>
                  <a:pt x="1996173" y="767207"/>
                </a:lnTo>
                <a:lnTo>
                  <a:pt x="1961299" y="657885"/>
                </a:lnTo>
                <a:lnTo>
                  <a:pt x="2051685" y="587197"/>
                </a:lnTo>
                <a:close/>
              </a:path>
              <a:path w="2176780" h="2163445">
                <a:moveTo>
                  <a:pt x="2176221" y="1031709"/>
                </a:moveTo>
                <a:lnTo>
                  <a:pt x="2061476" y="1031100"/>
                </a:lnTo>
                <a:lnTo>
                  <a:pt x="2022182" y="923290"/>
                </a:lnTo>
                <a:lnTo>
                  <a:pt x="1986140" y="1032230"/>
                </a:lnTo>
                <a:lnTo>
                  <a:pt x="1871459" y="1036281"/>
                </a:lnTo>
                <a:lnTo>
                  <a:pt x="1963928" y="1104226"/>
                </a:lnTo>
                <a:lnTo>
                  <a:pt x="1932355" y="1214539"/>
                </a:lnTo>
                <a:lnTo>
                  <a:pt x="2025548" y="1147597"/>
                </a:lnTo>
                <a:lnTo>
                  <a:pt x="2120709" y="1211732"/>
                </a:lnTo>
                <a:lnTo>
                  <a:pt x="2085835" y="1102398"/>
                </a:lnTo>
                <a:lnTo>
                  <a:pt x="2176221" y="1031709"/>
                </a:lnTo>
                <a:close/>
              </a:path>
            </a:pathLst>
          </a:custGeom>
          <a:solidFill>
            <a:srgbClr val="EDE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28" b="1" i="0">
                <a:solidFill>
                  <a:srgbClr val="0066FF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2638" b="1" i="0">
                <a:solidFill>
                  <a:srgbClr val="0066FF"/>
                </a:solidFill>
                <a:latin typeface="Century Gothic"/>
                <a:cs typeface="Century Gothic"/>
              </a:defRPr>
            </a:lvl1pPr>
          </a:lstStyle>
          <a:p>
            <a:pPr marL="20942">
              <a:spcBef>
                <a:spcPts val="181"/>
              </a:spcBef>
            </a:pPr>
            <a:r>
              <a:rPr lang="es-ES" spc="8"/>
              <a:t>FONDOS</a:t>
            </a:r>
            <a:r>
              <a:rPr lang="es-ES" spc="-165"/>
              <a:t> </a:t>
            </a:r>
            <a:r>
              <a:rPr lang="es-ES" spc="115"/>
              <a:t>EUROPEOS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7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2638" b="1" i="0">
                <a:solidFill>
                  <a:srgbClr val="0066FF"/>
                </a:solidFill>
                <a:latin typeface="Century Gothic"/>
                <a:cs typeface="Century Gothic"/>
              </a:defRPr>
            </a:lvl1pPr>
          </a:lstStyle>
          <a:p>
            <a:pPr marL="62827">
              <a:spcBef>
                <a:spcPts val="181"/>
              </a:spcBef>
            </a:pPr>
            <a:fld id="{81D60167-4931-47E6-BA6A-407CBD079E47}" type="slidenum">
              <a:rPr lang="es-ES" spc="33" smtClean="0"/>
              <a:pPr marL="62827">
                <a:spcBef>
                  <a:spcPts val="181"/>
                </a:spcBef>
              </a:pPr>
              <a:t>‹Nº›</a:t>
            </a:fld>
            <a:endParaRPr lang="es-ES" spc="33"/>
          </a:p>
        </p:txBody>
      </p:sp>
    </p:spTree>
    <p:extLst>
      <p:ext uri="{BB962C8B-B14F-4D97-AF65-F5344CB8AC3E}">
        <p14:creationId xmlns:p14="http://schemas.microsoft.com/office/powerpoint/2010/main" val="19418974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54F365-6453-428F-BCEF-2E9FA2875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809" y="474945"/>
            <a:ext cx="18455867" cy="13418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s-ES" sz="3298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el estilo de título del patrón</a:t>
            </a: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D49F185A-EA99-44F6-BF6A-4676FFD444B3}"/>
              </a:ext>
            </a:extLst>
          </p:cNvPr>
          <p:cNvSpPr>
            <a:spLocks/>
          </p:cNvSpPr>
          <p:nvPr userDrawn="1"/>
        </p:nvSpPr>
        <p:spPr bwMode="auto">
          <a:xfrm>
            <a:off x="16896883" y="10741563"/>
            <a:ext cx="370293" cy="253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defRPr/>
            </a:pPr>
            <a:fld id="{4C133B8C-2B4F-45CB-BBA4-156FF8F44E6A}" type="slidenum">
              <a:rPr lang="es-ES_tradnl" altLang="es-ES" sz="1649" b="0" i="0" smtClean="0">
                <a:solidFill>
                  <a:schemeClr val="tx2"/>
                </a:solidFill>
                <a:latin typeface="+mn-lt"/>
                <a:ea typeface="Arial" charset="0"/>
                <a:cs typeface="Arial" charset="0"/>
                <a:sym typeface="Arial" pitchFamily="34" charset="0"/>
              </a:rPr>
              <a:pPr algn="r" eaLnBrk="1" hangingPunct="1">
                <a:defRPr/>
              </a:pPr>
              <a:t>‹Nº›</a:t>
            </a:fld>
            <a:endParaRPr lang="es-ES_tradnl" altLang="es-ES" sz="1649" b="0" i="0">
              <a:solidFill>
                <a:schemeClr val="tx2"/>
              </a:solidFill>
              <a:latin typeface="+mn-lt"/>
              <a:ea typeface="Arial" charset="0"/>
              <a:cs typeface="Arial" charset="0"/>
              <a:sym typeface="Arial" pitchFamily="34" charset="0"/>
            </a:endParaRP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E58DE4FD-BFF5-43B6-9D8D-756DB2EB38AD}"/>
              </a:ext>
            </a:extLst>
          </p:cNvPr>
          <p:cNvCxnSpPr/>
          <p:nvPr userDrawn="1"/>
        </p:nvCxnSpPr>
        <p:spPr>
          <a:xfrm flipV="1">
            <a:off x="17355130" y="10659672"/>
            <a:ext cx="0" cy="41757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agen 5">
            <a:extLst>
              <a:ext uri="{FF2B5EF4-FFF2-40B4-BE49-F238E27FC236}">
                <a16:creationId xmlns:a16="http://schemas.microsoft.com/office/drawing/2014/main" id="{28048266-8166-4080-9229-EA00EDEA61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2F4FF"/>
              </a:clrFrom>
              <a:clrTo>
                <a:srgbClr val="F2F4FF">
                  <a:alpha val="0"/>
                </a:srgbClr>
              </a:clrTo>
            </a:clrChange>
          </a:blip>
          <a:srcRect r="68980" b="89173"/>
          <a:stretch/>
        </p:blipFill>
        <p:spPr>
          <a:xfrm>
            <a:off x="17137764" y="10497733"/>
            <a:ext cx="3346996" cy="600472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297173000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54F365-6453-428F-BCEF-2E9FA2875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2347" y="74096"/>
            <a:ext cx="16761437" cy="13418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s-ES" sz="329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Haga clic para modificar el estilo de título del patrón</a:t>
            </a: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E2822421-DE89-4518-9420-7EBB166487E2}"/>
              </a:ext>
            </a:extLst>
          </p:cNvPr>
          <p:cNvGrpSpPr/>
          <p:nvPr userDrawn="1"/>
        </p:nvGrpSpPr>
        <p:grpSpPr>
          <a:xfrm>
            <a:off x="328425" y="451140"/>
            <a:ext cx="1910935" cy="587730"/>
            <a:chOff x="-1276898" y="1766240"/>
            <a:chExt cx="1053522" cy="324000"/>
          </a:xfrm>
          <a:solidFill>
            <a:schemeClr val="tx2"/>
          </a:solidFill>
        </p:grpSpPr>
        <p:sp>
          <p:nvSpPr>
            <p:cNvPr id="11" name="Elipse 10">
              <a:extLst>
                <a:ext uri="{FF2B5EF4-FFF2-40B4-BE49-F238E27FC236}">
                  <a16:creationId xmlns:a16="http://schemas.microsoft.com/office/drawing/2014/main" id="{642ECA7C-8EF0-4685-8E0D-5A2A90C4BC63}"/>
                </a:ext>
              </a:extLst>
            </p:cNvPr>
            <p:cNvSpPr/>
            <p:nvPr/>
          </p:nvSpPr>
          <p:spPr>
            <a:xfrm>
              <a:off x="-1276898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9BAED245-D164-4980-ADD3-599ED072DD0E}"/>
                </a:ext>
              </a:extLst>
            </p:cNvPr>
            <p:cNvSpPr/>
            <p:nvPr/>
          </p:nvSpPr>
          <p:spPr>
            <a:xfrm>
              <a:off x="-912137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5F1C9E51-8BBB-4713-9D8D-14E1E317CF4E}"/>
                </a:ext>
              </a:extLst>
            </p:cNvPr>
            <p:cNvSpPr/>
            <p:nvPr/>
          </p:nvSpPr>
          <p:spPr>
            <a:xfrm>
              <a:off x="-547376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63995385-35C1-4622-8E5F-8B72B12DD1BC}"/>
              </a:ext>
            </a:extLst>
          </p:cNvPr>
          <p:cNvCxnSpPr>
            <a:cxnSpLocks/>
          </p:cNvCxnSpPr>
          <p:nvPr userDrawn="1"/>
        </p:nvCxnSpPr>
        <p:spPr>
          <a:xfrm rot="10800000">
            <a:off x="2566053" y="188308"/>
            <a:ext cx="0" cy="111339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276184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ndo_Blanco_Titular_Azu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13" y="4245735"/>
            <a:ext cx="15653167" cy="2185952"/>
          </a:xfrm>
          <a:noFill/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4035" y="6922505"/>
            <a:ext cx="15623046" cy="1793264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24A37FC6-CFAA-AA40-9AEC-EDB5AC61EE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9505" y="686334"/>
            <a:ext cx="3289992" cy="936877"/>
          </a:xfrm>
          <a:prstGeom prst="rect">
            <a:avLst/>
          </a:prstGeom>
        </p:spPr>
      </p:pic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F954BD66-1368-BA4D-A88F-DFD8931680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48831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848059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ndo_Azul_Titular_Blanc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13" y="4245735"/>
            <a:ext cx="15653167" cy="2185952"/>
          </a:xfrm>
          <a:noFill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2801" y="6922505"/>
            <a:ext cx="15623046" cy="179326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10324EC9-24C7-174D-B246-CAB9B044A8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9505" y="686334"/>
            <a:ext cx="3289992" cy="936877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75565342-32F0-F042-AECF-681BA10181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48831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526038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ondo_Imagen_Titular_Blanco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489" y="4245735"/>
            <a:ext cx="15653167" cy="2185952"/>
          </a:xfrm>
          <a:noFill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2611" y="6922505"/>
            <a:ext cx="15623046" cy="179326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10324EC9-24C7-174D-B246-CAB9B044A8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08081" y="686334"/>
            <a:ext cx="3289992" cy="936877"/>
          </a:xfrm>
          <a:prstGeom prst="rect">
            <a:avLst/>
          </a:prstGeom>
        </p:spPr>
      </p:pic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C8316937-F3C3-2748-8C71-018AB83C46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48831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666630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ondo_Imagen_Titular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130" y="4245735"/>
            <a:ext cx="15653167" cy="2185952"/>
          </a:xfrm>
          <a:noFill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0252" y="6922505"/>
            <a:ext cx="15623046" cy="179326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03D061EE-99C1-1F4C-AEA3-647F443580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48831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9717001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54F365-6453-428F-BCEF-2E9FA2875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2347" y="74096"/>
            <a:ext cx="16761437" cy="13418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s-ES" sz="329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Haga clic para modificar el estilo de título del patrón</a:t>
            </a: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E2822421-DE89-4518-9420-7EBB166487E2}"/>
              </a:ext>
            </a:extLst>
          </p:cNvPr>
          <p:cNvGrpSpPr/>
          <p:nvPr userDrawn="1"/>
        </p:nvGrpSpPr>
        <p:grpSpPr>
          <a:xfrm>
            <a:off x="328425" y="451140"/>
            <a:ext cx="1910935" cy="587730"/>
            <a:chOff x="-1276898" y="1766240"/>
            <a:chExt cx="1053522" cy="324000"/>
          </a:xfrm>
          <a:solidFill>
            <a:schemeClr val="tx2"/>
          </a:solidFill>
        </p:grpSpPr>
        <p:sp>
          <p:nvSpPr>
            <p:cNvPr id="11" name="Elipse 10">
              <a:extLst>
                <a:ext uri="{FF2B5EF4-FFF2-40B4-BE49-F238E27FC236}">
                  <a16:creationId xmlns:a16="http://schemas.microsoft.com/office/drawing/2014/main" id="{642ECA7C-8EF0-4685-8E0D-5A2A90C4BC63}"/>
                </a:ext>
              </a:extLst>
            </p:cNvPr>
            <p:cNvSpPr/>
            <p:nvPr/>
          </p:nvSpPr>
          <p:spPr>
            <a:xfrm>
              <a:off x="-1276898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9BAED245-D164-4980-ADD3-599ED072DD0E}"/>
                </a:ext>
              </a:extLst>
            </p:cNvPr>
            <p:cNvSpPr/>
            <p:nvPr/>
          </p:nvSpPr>
          <p:spPr>
            <a:xfrm>
              <a:off x="-912137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5F1C9E51-8BBB-4713-9D8D-14E1E317CF4E}"/>
                </a:ext>
              </a:extLst>
            </p:cNvPr>
            <p:cNvSpPr/>
            <p:nvPr/>
          </p:nvSpPr>
          <p:spPr>
            <a:xfrm>
              <a:off x="-547376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63995385-35C1-4622-8E5F-8B72B12DD1BC}"/>
              </a:ext>
            </a:extLst>
          </p:cNvPr>
          <p:cNvCxnSpPr>
            <a:cxnSpLocks/>
          </p:cNvCxnSpPr>
          <p:nvPr userDrawn="1"/>
        </p:nvCxnSpPr>
        <p:spPr>
          <a:xfrm rot="10800000">
            <a:off x="2566053" y="188308"/>
            <a:ext cx="0" cy="111339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3720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1" y="3958"/>
            <a:ext cx="20093941" cy="2122170"/>
          </a:xfrm>
          <a:custGeom>
            <a:avLst/>
            <a:gdLst/>
            <a:ahLst/>
            <a:cxnLst/>
            <a:rect l="l" t="t" r="r" b="b"/>
            <a:pathLst>
              <a:path w="20093940" h="2122170">
                <a:moveTo>
                  <a:pt x="20093629" y="0"/>
                </a:moveTo>
                <a:lnTo>
                  <a:pt x="0" y="0"/>
                </a:lnTo>
                <a:lnTo>
                  <a:pt x="0" y="2121631"/>
                </a:lnTo>
                <a:lnTo>
                  <a:pt x="20093629" y="2121631"/>
                </a:lnTo>
                <a:lnTo>
                  <a:pt x="20093629" y="0"/>
                </a:lnTo>
                <a:close/>
              </a:path>
            </a:pathLst>
          </a:custGeom>
          <a:solidFill>
            <a:srgbClr val="0066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1" y="4901963"/>
            <a:ext cx="20093941" cy="6407151"/>
          </a:xfrm>
          <a:custGeom>
            <a:avLst/>
            <a:gdLst/>
            <a:ahLst/>
            <a:cxnLst/>
            <a:rect l="l" t="t" r="r" b="b"/>
            <a:pathLst>
              <a:path w="20093940" h="6407150">
                <a:moveTo>
                  <a:pt x="1880755" y="3498443"/>
                </a:moveTo>
                <a:lnTo>
                  <a:pt x="1878380" y="3451491"/>
                </a:lnTo>
                <a:lnTo>
                  <a:pt x="1871395" y="3405886"/>
                </a:lnTo>
                <a:lnTo>
                  <a:pt x="1862861" y="3372751"/>
                </a:lnTo>
                <a:lnTo>
                  <a:pt x="1862861" y="3498443"/>
                </a:lnTo>
                <a:lnTo>
                  <a:pt x="1860321" y="3545395"/>
                </a:lnTo>
                <a:lnTo>
                  <a:pt x="1852650" y="3593134"/>
                </a:lnTo>
                <a:lnTo>
                  <a:pt x="1840280" y="3637991"/>
                </a:lnTo>
                <a:lnTo>
                  <a:pt x="1823453" y="3680815"/>
                </a:lnTo>
                <a:lnTo>
                  <a:pt x="1802422" y="3721341"/>
                </a:lnTo>
                <a:lnTo>
                  <a:pt x="1777466" y="3759289"/>
                </a:lnTo>
                <a:lnTo>
                  <a:pt x="1748853" y="3794404"/>
                </a:lnTo>
                <a:lnTo>
                  <a:pt x="1716849" y="3826408"/>
                </a:lnTo>
                <a:lnTo>
                  <a:pt x="1681746" y="3855021"/>
                </a:lnTo>
                <a:lnTo>
                  <a:pt x="1643786" y="3879977"/>
                </a:lnTo>
                <a:lnTo>
                  <a:pt x="1603260" y="3901008"/>
                </a:lnTo>
                <a:lnTo>
                  <a:pt x="1560436" y="3917835"/>
                </a:lnTo>
                <a:lnTo>
                  <a:pt x="1515579" y="3930192"/>
                </a:lnTo>
                <a:lnTo>
                  <a:pt x="1468983" y="3937800"/>
                </a:lnTo>
                <a:lnTo>
                  <a:pt x="1420888" y="3940403"/>
                </a:lnTo>
                <a:lnTo>
                  <a:pt x="1372806" y="3937800"/>
                </a:lnTo>
                <a:lnTo>
                  <a:pt x="1326197" y="3930192"/>
                </a:lnTo>
                <a:lnTo>
                  <a:pt x="1281341" y="3917835"/>
                </a:lnTo>
                <a:lnTo>
                  <a:pt x="1238516" y="3901008"/>
                </a:lnTo>
                <a:lnTo>
                  <a:pt x="1197991" y="3879977"/>
                </a:lnTo>
                <a:lnTo>
                  <a:pt x="1160043" y="3855021"/>
                </a:lnTo>
                <a:lnTo>
                  <a:pt x="1124927" y="3826408"/>
                </a:lnTo>
                <a:lnTo>
                  <a:pt x="1092923" y="3794404"/>
                </a:lnTo>
                <a:lnTo>
                  <a:pt x="1064310" y="3759289"/>
                </a:lnTo>
                <a:lnTo>
                  <a:pt x="1039355" y="3721341"/>
                </a:lnTo>
                <a:lnTo>
                  <a:pt x="1018324" y="3680815"/>
                </a:lnTo>
                <a:lnTo>
                  <a:pt x="1001496" y="3637991"/>
                </a:lnTo>
                <a:lnTo>
                  <a:pt x="989139" y="3593134"/>
                </a:lnTo>
                <a:lnTo>
                  <a:pt x="981519" y="3546538"/>
                </a:lnTo>
                <a:lnTo>
                  <a:pt x="978928" y="3498443"/>
                </a:lnTo>
                <a:lnTo>
                  <a:pt x="981456" y="3451491"/>
                </a:lnTo>
                <a:lnTo>
                  <a:pt x="989139" y="3403752"/>
                </a:lnTo>
                <a:lnTo>
                  <a:pt x="1001496" y="3358908"/>
                </a:lnTo>
                <a:lnTo>
                  <a:pt x="1018324" y="3316084"/>
                </a:lnTo>
                <a:lnTo>
                  <a:pt x="1039355" y="3275558"/>
                </a:lnTo>
                <a:lnTo>
                  <a:pt x="1064310" y="3237598"/>
                </a:lnTo>
                <a:lnTo>
                  <a:pt x="1092923" y="3202482"/>
                </a:lnTo>
                <a:lnTo>
                  <a:pt x="1124927" y="3170478"/>
                </a:lnTo>
                <a:lnTo>
                  <a:pt x="1160043" y="3141865"/>
                </a:lnTo>
                <a:lnTo>
                  <a:pt x="1197991" y="3116910"/>
                </a:lnTo>
                <a:lnTo>
                  <a:pt x="1238516" y="3095879"/>
                </a:lnTo>
                <a:lnTo>
                  <a:pt x="1281341" y="3079051"/>
                </a:lnTo>
                <a:lnTo>
                  <a:pt x="1326197" y="3066694"/>
                </a:lnTo>
                <a:lnTo>
                  <a:pt x="1372806" y="3059087"/>
                </a:lnTo>
                <a:lnTo>
                  <a:pt x="1420888" y="3056483"/>
                </a:lnTo>
                <a:lnTo>
                  <a:pt x="1468983" y="3059087"/>
                </a:lnTo>
                <a:lnTo>
                  <a:pt x="1515579" y="3066694"/>
                </a:lnTo>
                <a:lnTo>
                  <a:pt x="1560436" y="3079051"/>
                </a:lnTo>
                <a:lnTo>
                  <a:pt x="1603260" y="3095879"/>
                </a:lnTo>
                <a:lnTo>
                  <a:pt x="1643786" y="3116910"/>
                </a:lnTo>
                <a:lnTo>
                  <a:pt x="1681746" y="3141865"/>
                </a:lnTo>
                <a:lnTo>
                  <a:pt x="1716849" y="3170478"/>
                </a:lnTo>
                <a:lnTo>
                  <a:pt x="1748853" y="3202482"/>
                </a:lnTo>
                <a:lnTo>
                  <a:pt x="1777466" y="3237598"/>
                </a:lnTo>
                <a:lnTo>
                  <a:pt x="1802422" y="3275558"/>
                </a:lnTo>
                <a:lnTo>
                  <a:pt x="1823453" y="3316084"/>
                </a:lnTo>
                <a:lnTo>
                  <a:pt x="1840280" y="3358908"/>
                </a:lnTo>
                <a:lnTo>
                  <a:pt x="1852650" y="3403752"/>
                </a:lnTo>
                <a:lnTo>
                  <a:pt x="1860257" y="3450361"/>
                </a:lnTo>
                <a:lnTo>
                  <a:pt x="1862861" y="3498443"/>
                </a:lnTo>
                <a:lnTo>
                  <a:pt x="1862861" y="3372751"/>
                </a:lnTo>
                <a:lnTo>
                  <a:pt x="1844560" y="3319615"/>
                </a:lnTo>
                <a:lnTo>
                  <a:pt x="1825180" y="3279432"/>
                </a:lnTo>
                <a:lnTo>
                  <a:pt x="1802117" y="3241510"/>
                </a:lnTo>
                <a:lnTo>
                  <a:pt x="1775612" y="3206102"/>
                </a:lnTo>
                <a:lnTo>
                  <a:pt x="1745919" y="3173425"/>
                </a:lnTo>
                <a:lnTo>
                  <a:pt x="1713242" y="3143720"/>
                </a:lnTo>
                <a:lnTo>
                  <a:pt x="1677835" y="3117227"/>
                </a:lnTo>
                <a:lnTo>
                  <a:pt x="1639912" y="3094164"/>
                </a:lnTo>
                <a:lnTo>
                  <a:pt x="1599717" y="3074771"/>
                </a:lnTo>
                <a:lnTo>
                  <a:pt x="1557489" y="3059290"/>
                </a:lnTo>
                <a:lnTo>
                  <a:pt x="1513459" y="3047936"/>
                </a:lnTo>
                <a:lnTo>
                  <a:pt x="1467840" y="3040951"/>
                </a:lnTo>
                <a:lnTo>
                  <a:pt x="1420888" y="3038576"/>
                </a:lnTo>
                <a:lnTo>
                  <a:pt x="1373936" y="3040951"/>
                </a:lnTo>
                <a:lnTo>
                  <a:pt x="1328331" y="3047936"/>
                </a:lnTo>
                <a:lnTo>
                  <a:pt x="1284287" y="3059290"/>
                </a:lnTo>
                <a:lnTo>
                  <a:pt x="1242060" y="3074771"/>
                </a:lnTo>
                <a:lnTo>
                  <a:pt x="1201864" y="3094164"/>
                </a:lnTo>
                <a:lnTo>
                  <a:pt x="1163955" y="3117227"/>
                </a:lnTo>
                <a:lnTo>
                  <a:pt x="1128534" y="3143720"/>
                </a:lnTo>
                <a:lnTo>
                  <a:pt x="1095870" y="3173425"/>
                </a:lnTo>
                <a:lnTo>
                  <a:pt x="1066165" y="3206102"/>
                </a:lnTo>
                <a:lnTo>
                  <a:pt x="1039660" y="3241510"/>
                </a:lnTo>
                <a:lnTo>
                  <a:pt x="1016609" y="3279432"/>
                </a:lnTo>
                <a:lnTo>
                  <a:pt x="997216" y="3319615"/>
                </a:lnTo>
                <a:lnTo>
                  <a:pt x="981735" y="3361842"/>
                </a:lnTo>
                <a:lnTo>
                  <a:pt x="970381" y="3405886"/>
                </a:lnTo>
                <a:lnTo>
                  <a:pt x="963396" y="3451491"/>
                </a:lnTo>
                <a:lnTo>
                  <a:pt x="961021" y="3498443"/>
                </a:lnTo>
                <a:lnTo>
                  <a:pt x="963396" y="3545395"/>
                </a:lnTo>
                <a:lnTo>
                  <a:pt x="970381" y="3591014"/>
                </a:lnTo>
                <a:lnTo>
                  <a:pt x="981735" y="3635044"/>
                </a:lnTo>
                <a:lnTo>
                  <a:pt x="997216" y="3677272"/>
                </a:lnTo>
                <a:lnTo>
                  <a:pt x="1016609" y="3717467"/>
                </a:lnTo>
                <a:lnTo>
                  <a:pt x="1039660" y="3755377"/>
                </a:lnTo>
                <a:lnTo>
                  <a:pt x="1066165" y="3790797"/>
                </a:lnTo>
                <a:lnTo>
                  <a:pt x="1095870" y="3823462"/>
                </a:lnTo>
                <a:lnTo>
                  <a:pt x="1128534" y="3853167"/>
                </a:lnTo>
                <a:lnTo>
                  <a:pt x="1163955" y="3879659"/>
                </a:lnTo>
                <a:lnTo>
                  <a:pt x="1201864" y="3902722"/>
                </a:lnTo>
                <a:lnTo>
                  <a:pt x="1242060" y="3922115"/>
                </a:lnTo>
                <a:lnTo>
                  <a:pt x="1284287" y="3937597"/>
                </a:lnTo>
                <a:lnTo>
                  <a:pt x="1328331" y="3948950"/>
                </a:lnTo>
                <a:lnTo>
                  <a:pt x="1373936" y="3955935"/>
                </a:lnTo>
                <a:lnTo>
                  <a:pt x="1420888" y="3958310"/>
                </a:lnTo>
                <a:lnTo>
                  <a:pt x="1467840" y="3955935"/>
                </a:lnTo>
                <a:lnTo>
                  <a:pt x="1513459" y="3948950"/>
                </a:lnTo>
                <a:lnTo>
                  <a:pt x="1557489" y="3937597"/>
                </a:lnTo>
                <a:lnTo>
                  <a:pt x="1599717" y="3922115"/>
                </a:lnTo>
                <a:lnTo>
                  <a:pt x="1639912" y="3902722"/>
                </a:lnTo>
                <a:lnTo>
                  <a:pt x="1677835" y="3879659"/>
                </a:lnTo>
                <a:lnTo>
                  <a:pt x="1713242" y="3853167"/>
                </a:lnTo>
                <a:lnTo>
                  <a:pt x="1745919" y="3823462"/>
                </a:lnTo>
                <a:lnTo>
                  <a:pt x="1775612" y="3790797"/>
                </a:lnTo>
                <a:lnTo>
                  <a:pt x="1802117" y="3755377"/>
                </a:lnTo>
                <a:lnTo>
                  <a:pt x="1825180" y="3717467"/>
                </a:lnTo>
                <a:lnTo>
                  <a:pt x="1844560" y="3677272"/>
                </a:lnTo>
                <a:lnTo>
                  <a:pt x="1860054" y="3635044"/>
                </a:lnTo>
                <a:lnTo>
                  <a:pt x="1871395" y="3591014"/>
                </a:lnTo>
                <a:lnTo>
                  <a:pt x="1878380" y="3545395"/>
                </a:lnTo>
                <a:lnTo>
                  <a:pt x="1880755" y="3498443"/>
                </a:lnTo>
                <a:close/>
              </a:path>
              <a:path w="20093940" h="6407150">
                <a:moveTo>
                  <a:pt x="4806226" y="1511300"/>
                </a:moveTo>
                <a:lnTo>
                  <a:pt x="4805477" y="1473200"/>
                </a:lnTo>
                <a:lnTo>
                  <a:pt x="4803254" y="1422400"/>
                </a:lnTo>
                <a:lnTo>
                  <a:pt x="4799558" y="1371600"/>
                </a:lnTo>
                <a:lnTo>
                  <a:pt x="4794428" y="1320800"/>
                </a:lnTo>
                <a:lnTo>
                  <a:pt x="4787874" y="1282700"/>
                </a:lnTo>
                <a:lnTo>
                  <a:pt x="4779937" y="1231900"/>
                </a:lnTo>
                <a:lnTo>
                  <a:pt x="4770615" y="1193800"/>
                </a:lnTo>
                <a:lnTo>
                  <a:pt x="4759947" y="1143000"/>
                </a:lnTo>
                <a:lnTo>
                  <a:pt x="4747958" y="1104900"/>
                </a:lnTo>
                <a:lnTo>
                  <a:pt x="4747336" y="1102525"/>
                </a:lnTo>
                <a:lnTo>
                  <a:pt x="4747336" y="1511300"/>
                </a:lnTo>
                <a:lnTo>
                  <a:pt x="4746561" y="1562100"/>
                </a:lnTo>
                <a:lnTo>
                  <a:pt x="4744237" y="1612900"/>
                </a:lnTo>
                <a:lnTo>
                  <a:pt x="4740402" y="1663700"/>
                </a:lnTo>
                <a:lnTo>
                  <a:pt x="4735080" y="1701800"/>
                </a:lnTo>
                <a:lnTo>
                  <a:pt x="4728286" y="1752600"/>
                </a:lnTo>
                <a:lnTo>
                  <a:pt x="4720044" y="1803400"/>
                </a:lnTo>
                <a:lnTo>
                  <a:pt x="4710379" y="1841500"/>
                </a:lnTo>
                <a:lnTo>
                  <a:pt x="4699317" y="1892300"/>
                </a:lnTo>
                <a:lnTo>
                  <a:pt x="4686884" y="1930400"/>
                </a:lnTo>
                <a:lnTo>
                  <a:pt x="4673104" y="1981200"/>
                </a:lnTo>
                <a:lnTo>
                  <a:pt x="4658004" y="2019300"/>
                </a:lnTo>
                <a:lnTo>
                  <a:pt x="4641596" y="2057400"/>
                </a:lnTo>
                <a:lnTo>
                  <a:pt x="4623917" y="2108200"/>
                </a:lnTo>
                <a:lnTo>
                  <a:pt x="4604994" y="2146300"/>
                </a:lnTo>
                <a:lnTo>
                  <a:pt x="4584839" y="2184400"/>
                </a:lnTo>
                <a:lnTo>
                  <a:pt x="4563478" y="2222500"/>
                </a:lnTo>
                <a:lnTo>
                  <a:pt x="4540936" y="2260600"/>
                </a:lnTo>
                <a:lnTo>
                  <a:pt x="4517250" y="2298700"/>
                </a:lnTo>
                <a:lnTo>
                  <a:pt x="4492422" y="2336800"/>
                </a:lnTo>
                <a:lnTo>
                  <a:pt x="4466488" y="2374900"/>
                </a:lnTo>
                <a:lnTo>
                  <a:pt x="4439475" y="2413000"/>
                </a:lnTo>
                <a:lnTo>
                  <a:pt x="4411408" y="2451100"/>
                </a:lnTo>
                <a:lnTo>
                  <a:pt x="4382300" y="2476500"/>
                </a:lnTo>
                <a:lnTo>
                  <a:pt x="4352175" y="2514600"/>
                </a:lnTo>
                <a:lnTo>
                  <a:pt x="4321073" y="2540000"/>
                </a:lnTo>
                <a:lnTo>
                  <a:pt x="4289006" y="2578100"/>
                </a:lnTo>
                <a:lnTo>
                  <a:pt x="4256011" y="2603500"/>
                </a:lnTo>
                <a:lnTo>
                  <a:pt x="4222089" y="2628900"/>
                </a:lnTo>
                <a:lnTo>
                  <a:pt x="4187291" y="2667000"/>
                </a:lnTo>
                <a:lnTo>
                  <a:pt x="4151617" y="2692400"/>
                </a:lnTo>
                <a:lnTo>
                  <a:pt x="4115104" y="2717800"/>
                </a:lnTo>
                <a:lnTo>
                  <a:pt x="4077779" y="2743200"/>
                </a:lnTo>
                <a:lnTo>
                  <a:pt x="4039654" y="2768600"/>
                </a:lnTo>
                <a:lnTo>
                  <a:pt x="4000766" y="2781300"/>
                </a:lnTo>
                <a:lnTo>
                  <a:pt x="3961130" y="2806700"/>
                </a:lnTo>
                <a:lnTo>
                  <a:pt x="3920769" y="2832100"/>
                </a:lnTo>
                <a:lnTo>
                  <a:pt x="3879723" y="2844800"/>
                </a:lnTo>
                <a:lnTo>
                  <a:pt x="3837990" y="2870200"/>
                </a:lnTo>
                <a:lnTo>
                  <a:pt x="3795623" y="2882900"/>
                </a:lnTo>
                <a:lnTo>
                  <a:pt x="3574872" y="2946400"/>
                </a:lnTo>
                <a:lnTo>
                  <a:pt x="3529126" y="2946400"/>
                </a:lnTo>
                <a:lnTo>
                  <a:pt x="3482886" y="2959100"/>
                </a:lnTo>
                <a:lnTo>
                  <a:pt x="3436201" y="2959100"/>
                </a:lnTo>
                <a:lnTo>
                  <a:pt x="3389071" y="2971800"/>
                </a:lnTo>
                <a:lnTo>
                  <a:pt x="3198203" y="2971800"/>
                </a:lnTo>
                <a:lnTo>
                  <a:pt x="3151073" y="2959100"/>
                </a:lnTo>
                <a:lnTo>
                  <a:pt x="3104388" y="2959100"/>
                </a:lnTo>
                <a:lnTo>
                  <a:pt x="3058147" y="2946400"/>
                </a:lnTo>
                <a:lnTo>
                  <a:pt x="3012402" y="2946400"/>
                </a:lnTo>
                <a:lnTo>
                  <a:pt x="2791650" y="2882900"/>
                </a:lnTo>
                <a:lnTo>
                  <a:pt x="2749283" y="2870200"/>
                </a:lnTo>
                <a:lnTo>
                  <a:pt x="2707551" y="2844800"/>
                </a:lnTo>
                <a:lnTo>
                  <a:pt x="2666504" y="2832100"/>
                </a:lnTo>
                <a:lnTo>
                  <a:pt x="2626144" y="2806700"/>
                </a:lnTo>
                <a:lnTo>
                  <a:pt x="2586507" y="2781300"/>
                </a:lnTo>
                <a:lnTo>
                  <a:pt x="2547620" y="2768600"/>
                </a:lnTo>
                <a:lnTo>
                  <a:pt x="2509494" y="2743200"/>
                </a:lnTo>
                <a:lnTo>
                  <a:pt x="2472169" y="2717800"/>
                </a:lnTo>
                <a:lnTo>
                  <a:pt x="2435656" y="2692400"/>
                </a:lnTo>
                <a:lnTo>
                  <a:pt x="2399982" y="2667000"/>
                </a:lnTo>
                <a:lnTo>
                  <a:pt x="2365184" y="2628900"/>
                </a:lnTo>
                <a:lnTo>
                  <a:pt x="2331262" y="2603500"/>
                </a:lnTo>
                <a:lnTo>
                  <a:pt x="2298255" y="2578100"/>
                </a:lnTo>
                <a:lnTo>
                  <a:pt x="2266200" y="2540000"/>
                </a:lnTo>
                <a:lnTo>
                  <a:pt x="2235098" y="2514600"/>
                </a:lnTo>
                <a:lnTo>
                  <a:pt x="2204974" y="2476500"/>
                </a:lnTo>
                <a:lnTo>
                  <a:pt x="2175865" y="2451100"/>
                </a:lnTo>
                <a:lnTo>
                  <a:pt x="2147798" y="2413000"/>
                </a:lnTo>
                <a:lnTo>
                  <a:pt x="2120785" y="2374900"/>
                </a:lnTo>
                <a:lnTo>
                  <a:pt x="2094852" y="2336800"/>
                </a:lnTo>
                <a:lnTo>
                  <a:pt x="2070023" y="2298700"/>
                </a:lnTo>
                <a:lnTo>
                  <a:pt x="2046338" y="2260600"/>
                </a:lnTo>
                <a:lnTo>
                  <a:pt x="2023795" y="2222500"/>
                </a:lnTo>
                <a:lnTo>
                  <a:pt x="2002434" y="2184400"/>
                </a:lnTo>
                <a:lnTo>
                  <a:pt x="1982279" y="2146300"/>
                </a:lnTo>
                <a:lnTo>
                  <a:pt x="1963356" y="2108200"/>
                </a:lnTo>
                <a:lnTo>
                  <a:pt x="1945678" y="2057400"/>
                </a:lnTo>
                <a:lnTo>
                  <a:pt x="1929269" y="2019300"/>
                </a:lnTo>
                <a:lnTo>
                  <a:pt x="1914169" y="1981200"/>
                </a:lnTo>
                <a:lnTo>
                  <a:pt x="1900389" y="1930400"/>
                </a:lnTo>
                <a:lnTo>
                  <a:pt x="1887956" y="1892300"/>
                </a:lnTo>
                <a:lnTo>
                  <a:pt x="1876894" y="1841500"/>
                </a:lnTo>
                <a:lnTo>
                  <a:pt x="1867230" y="1803400"/>
                </a:lnTo>
                <a:lnTo>
                  <a:pt x="1858987" y="1752600"/>
                </a:lnTo>
                <a:lnTo>
                  <a:pt x="1852193" y="1701800"/>
                </a:lnTo>
                <a:lnTo>
                  <a:pt x="1846872" y="1663700"/>
                </a:lnTo>
                <a:lnTo>
                  <a:pt x="1843036" y="1612900"/>
                </a:lnTo>
                <a:lnTo>
                  <a:pt x="1840712" y="1562100"/>
                </a:lnTo>
                <a:lnTo>
                  <a:pt x="1839937" y="1511300"/>
                </a:lnTo>
                <a:lnTo>
                  <a:pt x="1840712" y="1473200"/>
                </a:lnTo>
                <a:lnTo>
                  <a:pt x="1843036" y="1422400"/>
                </a:lnTo>
                <a:lnTo>
                  <a:pt x="1846872" y="1371600"/>
                </a:lnTo>
                <a:lnTo>
                  <a:pt x="1852193" y="1320800"/>
                </a:lnTo>
                <a:lnTo>
                  <a:pt x="1858987" y="1282700"/>
                </a:lnTo>
                <a:lnTo>
                  <a:pt x="1867230" y="1231900"/>
                </a:lnTo>
                <a:lnTo>
                  <a:pt x="1876894" y="1193800"/>
                </a:lnTo>
                <a:lnTo>
                  <a:pt x="1887956" y="1143000"/>
                </a:lnTo>
                <a:lnTo>
                  <a:pt x="1900389" y="1104900"/>
                </a:lnTo>
                <a:lnTo>
                  <a:pt x="1914169" y="1054100"/>
                </a:lnTo>
                <a:lnTo>
                  <a:pt x="1929269" y="1016000"/>
                </a:lnTo>
                <a:lnTo>
                  <a:pt x="1945678" y="977900"/>
                </a:lnTo>
                <a:lnTo>
                  <a:pt x="1963356" y="927100"/>
                </a:lnTo>
                <a:lnTo>
                  <a:pt x="1982279" y="889000"/>
                </a:lnTo>
                <a:lnTo>
                  <a:pt x="2002434" y="850900"/>
                </a:lnTo>
                <a:lnTo>
                  <a:pt x="2023795" y="812800"/>
                </a:lnTo>
                <a:lnTo>
                  <a:pt x="2046338" y="774700"/>
                </a:lnTo>
                <a:lnTo>
                  <a:pt x="2070023" y="736600"/>
                </a:lnTo>
                <a:lnTo>
                  <a:pt x="2094852" y="698500"/>
                </a:lnTo>
                <a:lnTo>
                  <a:pt x="2120785" y="660400"/>
                </a:lnTo>
                <a:lnTo>
                  <a:pt x="2147798" y="622300"/>
                </a:lnTo>
                <a:lnTo>
                  <a:pt x="2175865" y="584200"/>
                </a:lnTo>
                <a:lnTo>
                  <a:pt x="2204974" y="558800"/>
                </a:lnTo>
                <a:lnTo>
                  <a:pt x="2235098" y="520700"/>
                </a:lnTo>
                <a:lnTo>
                  <a:pt x="2266200" y="482600"/>
                </a:lnTo>
                <a:lnTo>
                  <a:pt x="2298255" y="457200"/>
                </a:lnTo>
                <a:lnTo>
                  <a:pt x="2331262" y="431800"/>
                </a:lnTo>
                <a:lnTo>
                  <a:pt x="2365184" y="393700"/>
                </a:lnTo>
                <a:lnTo>
                  <a:pt x="2399982" y="368300"/>
                </a:lnTo>
                <a:lnTo>
                  <a:pt x="2435656" y="342900"/>
                </a:lnTo>
                <a:lnTo>
                  <a:pt x="2472169" y="317500"/>
                </a:lnTo>
                <a:lnTo>
                  <a:pt x="2509494" y="292100"/>
                </a:lnTo>
                <a:lnTo>
                  <a:pt x="2547620" y="266700"/>
                </a:lnTo>
                <a:lnTo>
                  <a:pt x="2586507" y="241300"/>
                </a:lnTo>
                <a:lnTo>
                  <a:pt x="2626144" y="228600"/>
                </a:lnTo>
                <a:lnTo>
                  <a:pt x="2666504" y="203200"/>
                </a:lnTo>
                <a:lnTo>
                  <a:pt x="2707551" y="190500"/>
                </a:lnTo>
                <a:lnTo>
                  <a:pt x="2749283" y="165100"/>
                </a:lnTo>
                <a:lnTo>
                  <a:pt x="2967139" y="101600"/>
                </a:lnTo>
                <a:lnTo>
                  <a:pt x="3058147" y="76200"/>
                </a:lnTo>
                <a:lnTo>
                  <a:pt x="3104388" y="76200"/>
                </a:lnTo>
                <a:lnTo>
                  <a:pt x="3151073" y="63500"/>
                </a:lnTo>
                <a:lnTo>
                  <a:pt x="3436201" y="63500"/>
                </a:lnTo>
                <a:lnTo>
                  <a:pt x="3482886" y="76200"/>
                </a:lnTo>
                <a:lnTo>
                  <a:pt x="3529126" y="76200"/>
                </a:lnTo>
                <a:lnTo>
                  <a:pt x="3620135" y="101600"/>
                </a:lnTo>
                <a:lnTo>
                  <a:pt x="3837990" y="165100"/>
                </a:lnTo>
                <a:lnTo>
                  <a:pt x="3879723" y="190500"/>
                </a:lnTo>
                <a:lnTo>
                  <a:pt x="3920769" y="203200"/>
                </a:lnTo>
                <a:lnTo>
                  <a:pt x="3961130" y="228600"/>
                </a:lnTo>
                <a:lnTo>
                  <a:pt x="4000766" y="241300"/>
                </a:lnTo>
                <a:lnTo>
                  <a:pt x="4039654" y="266700"/>
                </a:lnTo>
                <a:lnTo>
                  <a:pt x="4077779" y="292100"/>
                </a:lnTo>
                <a:lnTo>
                  <a:pt x="4115104" y="317500"/>
                </a:lnTo>
                <a:lnTo>
                  <a:pt x="4151617" y="342900"/>
                </a:lnTo>
                <a:lnTo>
                  <a:pt x="4187291" y="368300"/>
                </a:lnTo>
                <a:lnTo>
                  <a:pt x="4222089" y="393700"/>
                </a:lnTo>
                <a:lnTo>
                  <a:pt x="4256011" y="431800"/>
                </a:lnTo>
                <a:lnTo>
                  <a:pt x="4289006" y="457200"/>
                </a:lnTo>
                <a:lnTo>
                  <a:pt x="4321073" y="482600"/>
                </a:lnTo>
                <a:lnTo>
                  <a:pt x="4352175" y="520700"/>
                </a:lnTo>
                <a:lnTo>
                  <a:pt x="4382300" y="558800"/>
                </a:lnTo>
                <a:lnTo>
                  <a:pt x="4411408" y="584200"/>
                </a:lnTo>
                <a:lnTo>
                  <a:pt x="4439475" y="622300"/>
                </a:lnTo>
                <a:lnTo>
                  <a:pt x="4466488" y="660400"/>
                </a:lnTo>
                <a:lnTo>
                  <a:pt x="4492422" y="698500"/>
                </a:lnTo>
                <a:lnTo>
                  <a:pt x="4517250" y="736600"/>
                </a:lnTo>
                <a:lnTo>
                  <a:pt x="4540936" y="774700"/>
                </a:lnTo>
                <a:lnTo>
                  <a:pt x="4563478" y="812800"/>
                </a:lnTo>
                <a:lnTo>
                  <a:pt x="4584839" y="850900"/>
                </a:lnTo>
                <a:lnTo>
                  <a:pt x="4604994" y="889000"/>
                </a:lnTo>
                <a:lnTo>
                  <a:pt x="4623917" y="927100"/>
                </a:lnTo>
                <a:lnTo>
                  <a:pt x="4641596" y="977900"/>
                </a:lnTo>
                <a:lnTo>
                  <a:pt x="4658004" y="1016000"/>
                </a:lnTo>
                <a:lnTo>
                  <a:pt x="4673104" y="1054100"/>
                </a:lnTo>
                <a:lnTo>
                  <a:pt x="4686884" y="1104900"/>
                </a:lnTo>
                <a:lnTo>
                  <a:pt x="4699317" y="1143000"/>
                </a:lnTo>
                <a:lnTo>
                  <a:pt x="4710379" y="1193800"/>
                </a:lnTo>
                <a:lnTo>
                  <a:pt x="4720044" y="1231900"/>
                </a:lnTo>
                <a:lnTo>
                  <a:pt x="4728286" y="1282700"/>
                </a:lnTo>
                <a:lnTo>
                  <a:pt x="4735080" y="1320800"/>
                </a:lnTo>
                <a:lnTo>
                  <a:pt x="4740402" y="1371600"/>
                </a:lnTo>
                <a:lnTo>
                  <a:pt x="4744237" y="1422400"/>
                </a:lnTo>
                <a:lnTo>
                  <a:pt x="4746561" y="1473200"/>
                </a:lnTo>
                <a:lnTo>
                  <a:pt x="4747336" y="1511300"/>
                </a:lnTo>
                <a:lnTo>
                  <a:pt x="4747336" y="1102525"/>
                </a:lnTo>
                <a:lnTo>
                  <a:pt x="4734661" y="1054100"/>
                </a:lnTo>
                <a:lnTo>
                  <a:pt x="4720082" y="1016000"/>
                </a:lnTo>
                <a:lnTo>
                  <a:pt x="4704245" y="965200"/>
                </a:lnTo>
                <a:lnTo>
                  <a:pt x="4687176" y="927100"/>
                </a:lnTo>
                <a:lnTo>
                  <a:pt x="4668875" y="889000"/>
                </a:lnTo>
                <a:lnTo>
                  <a:pt x="4649394" y="850900"/>
                </a:lnTo>
                <a:lnTo>
                  <a:pt x="4628743" y="800100"/>
                </a:lnTo>
                <a:lnTo>
                  <a:pt x="4606937" y="762000"/>
                </a:lnTo>
                <a:lnTo>
                  <a:pt x="4584001" y="723900"/>
                </a:lnTo>
                <a:lnTo>
                  <a:pt x="4559973" y="685800"/>
                </a:lnTo>
                <a:lnTo>
                  <a:pt x="4534852" y="647700"/>
                </a:lnTo>
                <a:lnTo>
                  <a:pt x="4508678" y="622300"/>
                </a:lnTo>
                <a:lnTo>
                  <a:pt x="4481474" y="584200"/>
                </a:lnTo>
                <a:lnTo>
                  <a:pt x="4453242" y="546100"/>
                </a:lnTo>
                <a:lnTo>
                  <a:pt x="4424019" y="508000"/>
                </a:lnTo>
                <a:lnTo>
                  <a:pt x="4393831" y="482600"/>
                </a:lnTo>
                <a:lnTo>
                  <a:pt x="4362691" y="444500"/>
                </a:lnTo>
                <a:lnTo>
                  <a:pt x="4330636" y="419100"/>
                </a:lnTo>
                <a:lnTo>
                  <a:pt x="4297667" y="381000"/>
                </a:lnTo>
                <a:lnTo>
                  <a:pt x="4263822" y="355600"/>
                </a:lnTo>
                <a:lnTo>
                  <a:pt x="4229125" y="330200"/>
                </a:lnTo>
                <a:lnTo>
                  <a:pt x="4193578" y="304800"/>
                </a:lnTo>
                <a:lnTo>
                  <a:pt x="4157230" y="279400"/>
                </a:lnTo>
                <a:lnTo>
                  <a:pt x="4120083" y="254000"/>
                </a:lnTo>
                <a:lnTo>
                  <a:pt x="4082161" y="228600"/>
                </a:lnTo>
                <a:lnTo>
                  <a:pt x="4043502" y="203200"/>
                </a:lnTo>
                <a:lnTo>
                  <a:pt x="4004119" y="177800"/>
                </a:lnTo>
                <a:lnTo>
                  <a:pt x="3964025" y="165100"/>
                </a:lnTo>
                <a:lnTo>
                  <a:pt x="3923258" y="139700"/>
                </a:lnTo>
                <a:lnTo>
                  <a:pt x="3881844" y="127000"/>
                </a:lnTo>
                <a:lnTo>
                  <a:pt x="3839781" y="101600"/>
                </a:lnTo>
                <a:lnTo>
                  <a:pt x="3710013" y="63500"/>
                </a:lnTo>
                <a:lnTo>
                  <a:pt x="3575329" y="25400"/>
                </a:lnTo>
                <a:lnTo>
                  <a:pt x="3529444" y="25400"/>
                </a:lnTo>
                <a:lnTo>
                  <a:pt x="3483114" y="12700"/>
                </a:lnTo>
                <a:lnTo>
                  <a:pt x="3389147" y="12700"/>
                </a:lnTo>
                <a:lnTo>
                  <a:pt x="3341573" y="0"/>
                </a:lnTo>
                <a:lnTo>
                  <a:pt x="3245701" y="0"/>
                </a:lnTo>
                <a:lnTo>
                  <a:pt x="3198126" y="12700"/>
                </a:lnTo>
                <a:lnTo>
                  <a:pt x="3104159" y="12700"/>
                </a:lnTo>
                <a:lnTo>
                  <a:pt x="3057829" y="25400"/>
                </a:lnTo>
                <a:lnTo>
                  <a:pt x="3011944" y="25400"/>
                </a:lnTo>
                <a:lnTo>
                  <a:pt x="2966542" y="38100"/>
                </a:lnTo>
                <a:lnTo>
                  <a:pt x="2747492" y="101600"/>
                </a:lnTo>
                <a:lnTo>
                  <a:pt x="2705430" y="127000"/>
                </a:lnTo>
                <a:lnTo>
                  <a:pt x="2664015" y="139700"/>
                </a:lnTo>
                <a:lnTo>
                  <a:pt x="2623235" y="165100"/>
                </a:lnTo>
                <a:lnTo>
                  <a:pt x="2583154" y="177800"/>
                </a:lnTo>
                <a:lnTo>
                  <a:pt x="2543772" y="203200"/>
                </a:lnTo>
                <a:lnTo>
                  <a:pt x="2505113" y="228600"/>
                </a:lnTo>
                <a:lnTo>
                  <a:pt x="2467191" y="254000"/>
                </a:lnTo>
                <a:lnTo>
                  <a:pt x="2430043" y="279400"/>
                </a:lnTo>
                <a:lnTo>
                  <a:pt x="2393696" y="304800"/>
                </a:lnTo>
                <a:lnTo>
                  <a:pt x="2358148" y="330200"/>
                </a:lnTo>
                <a:lnTo>
                  <a:pt x="2323452" y="355600"/>
                </a:lnTo>
                <a:lnTo>
                  <a:pt x="2289606" y="381000"/>
                </a:lnTo>
                <a:lnTo>
                  <a:pt x="2256637" y="419100"/>
                </a:lnTo>
                <a:lnTo>
                  <a:pt x="2224570" y="444500"/>
                </a:lnTo>
                <a:lnTo>
                  <a:pt x="2193442" y="482600"/>
                </a:lnTo>
                <a:lnTo>
                  <a:pt x="2163254" y="508000"/>
                </a:lnTo>
                <a:lnTo>
                  <a:pt x="2134031" y="546100"/>
                </a:lnTo>
                <a:lnTo>
                  <a:pt x="2105799" y="584200"/>
                </a:lnTo>
                <a:lnTo>
                  <a:pt x="2078596" y="622300"/>
                </a:lnTo>
                <a:lnTo>
                  <a:pt x="2052421" y="647700"/>
                </a:lnTo>
                <a:lnTo>
                  <a:pt x="2027301" y="685800"/>
                </a:lnTo>
                <a:lnTo>
                  <a:pt x="2003272" y="723900"/>
                </a:lnTo>
                <a:lnTo>
                  <a:pt x="1980336" y="762000"/>
                </a:lnTo>
                <a:lnTo>
                  <a:pt x="1958530" y="800100"/>
                </a:lnTo>
                <a:lnTo>
                  <a:pt x="1937880" y="850900"/>
                </a:lnTo>
                <a:lnTo>
                  <a:pt x="1918385" y="889000"/>
                </a:lnTo>
                <a:lnTo>
                  <a:pt x="1900097" y="927100"/>
                </a:lnTo>
                <a:lnTo>
                  <a:pt x="1883029" y="965200"/>
                </a:lnTo>
                <a:lnTo>
                  <a:pt x="1867179" y="1016000"/>
                </a:lnTo>
                <a:lnTo>
                  <a:pt x="1852612" y="1054100"/>
                </a:lnTo>
                <a:lnTo>
                  <a:pt x="1839315" y="1104900"/>
                </a:lnTo>
                <a:lnTo>
                  <a:pt x="1827326" y="1143000"/>
                </a:lnTo>
                <a:lnTo>
                  <a:pt x="1816658" y="1193800"/>
                </a:lnTo>
                <a:lnTo>
                  <a:pt x="1807337" y="1231900"/>
                </a:lnTo>
                <a:lnTo>
                  <a:pt x="1799399" y="1282700"/>
                </a:lnTo>
                <a:lnTo>
                  <a:pt x="1792846" y="1320800"/>
                </a:lnTo>
                <a:lnTo>
                  <a:pt x="1787715" y="1371600"/>
                </a:lnTo>
                <a:lnTo>
                  <a:pt x="1784019" y="1422400"/>
                </a:lnTo>
                <a:lnTo>
                  <a:pt x="1781797" y="1473200"/>
                </a:lnTo>
                <a:lnTo>
                  <a:pt x="1781048" y="1511300"/>
                </a:lnTo>
                <a:lnTo>
                  <a:pt x="1781797" y="1562100"/>
                </a:lnTo>
                <a:lnTo>
                  <a:pt x="1784019" y="1612900"/>
                </a:lnTo>
                <a:lnTo>
                  <a:pt x="1787715" y="1663700"/>
                </a:lnTo>
                <a:lnTo>
                  <a:pt x="1792846" y="1701800"/>
                </a:lnTo>
                <a:lnTo>
                  <a:pt x="1799399" y="1752600"/>
                </a:lnTo>
                <a:lnTo>
                  <a:pt x="1807337" y="1803400"/>
                </a:lnTo>
                <a:lnTo>
                  <a:pt x="1816658" y="1841500"/>
                </a:lnTo>
                <a:lnTo>
                  <a:pt x="1827326" y="1892300"/>
                </a:lnTo>
                <a:lnTo>
                  <a:pt x="1839315" y="1930400"/>
                </a:lnTo>
                <a:lnTo>
                  <a:pt x="1852612" y="1981200"/>
                </a:lnTo>
                <a:lnTo>
                  <a:pt x="1867179" y="2019300"/>
                </a:lnTo>
                <a:lnTo>
                  <a:pt x="1883029" y="2057400"/>
                </a:lnTo>
                <a:lnTo>
                  <a:pt x="1900097" y="2108200"/>
                </a:lnTo>
                <a:lnTo>
                  <a:pt x="1918385" y="2146300"/>
                </a:lnTo>
                <a:lnTo>
                  <a:pt x="1937880" y="2184400"/>
                </a:lnTo>
                <a:lnTo>
                  <a:pt x="1958530" y="2222500"/>
                </a:lnTo>
                <a:lnTo>
                  <a:pt x="1980336" y="2260600"/>
                </a:lnTo>
                <a:lnTo>
                  <a:pt x="2003272" y="2298700"/>
                </a:lnTo>
                <a:lnTo>
                  <a:pt x="2027301" y="2336800"/>
                </a:lnTo>
                <a:lnTo>
                  <a:pt x="2052421" y="2374900"/>
                </a:lnTo>
                <a:lnTo>
                  <a:pt x="2078596" y="2413000"/>
                </a:lnTo>
                <a:lnTo>
                  <a:pt x="2105799" y="2451100"/>
                </a:lnTo>
                <a:lnTo>
                  <a:pt x="2134031" y="2489200"/>
                </a:lnTo>
                <a:lnTo>
                  <a:pt x="2163254" y="2514600"/>
                </a:lnTo>
                <a:lnTo>
                  <a:pt x="2193442" y="2552700"/>
                </a:lnTo>
                <a:lnTo>
                  <a:pt x="2224570" y="2590800"/>
                </a:lnTo>
                <a:lnTo>
                  <a:pt x="2256637" y="2616200"/>
                </a:lnTo>
                <a:lnTo>
                  <a:pt x="2289606" y="2641600"/>
                </a:lnTo>
                <a:lnTo>
                  <a:pt x="2323452" y="2679700"/>
                </a:lnTo>
                <a:lnTo>
                  <a:pt x="2358148" y="2705100"/>
                </a:lnTo>
                <a:lnTo>
                  <a:pt x="2393696" y="2730500"/>
                </a:lnTo>
                <a:lnTo>
                  <a:pt x="2430043" y="2755900"/>
                </a:lnTo>
                <a:lnTo>
                  <a:pt x="2467191" y="2781300"/>
                </a:lnTo>
                <a:lnTo>
                  <a:pt x="2505113" y="2806700"/>
                </a:lnTo>
                <a:lnTo>
                  <a:pt x="2543772" y="2832100"/>
                </a:lnTo>
                <a:lnTo>
                  <a:pt x="2583154" y="2857500"/>
                </a:lnTo>
                <a:lnTo>
                  <a:pt x="2623235" y="2870200"/>
                </a:lnTo>
                <a:lnTo>
                  <a:pt x="2664015" y="2895600"/>
                </a:lnTo>
                <a:lnTo>
                  <a:pt x="2747492" y="2921000"/>
                </a:lnTo>
                <a:lnTo>
                  <a:pt x="2790164" y="2946400"/>
                </a:lnTo>
                <a:lnTo>
                  <a:pt x="2966542" y="2997200"/>
                </a:lnTo>
                <a:lnTo>
                  <a:pt x="3011944" y="2997200"/>
                </a:lnTo>
                <a:lnTo>
                  <a:pt x="3104159" y="3022600"/>
                </a:lnTo>
                <a:lnTo>
                  <a:pt x="3483114" y="3022600"/>
                </a:lnTo>
                <a:lnTo>
                  <a:pt x="3575329" y="2997200"/>
                </a:lnTo>
                <a:lnTo>
                  <a:pt x="3620732" y="2997200"/>
                </a:lnTo>
                <a:lnTo>
                  <a:pt x="3710013" y="2971800"/>
                </a:lnTo>
                <a:lnTo>
                  <a:pt x="3797109" y="2946400"/>
                </a:lnTo>
                <a:lnTo>
                  <a:pt x="3839781" y="2921000"/>
                </a:lnTo>
                <a:lnTo>
                  <a:pt x="3923258" y="2895600"/>
                </a:lnTo>
                <a:lnTo>
                  <a:pt x="3964025" y="2870200"/>
                </a:lnTo>
                <a:lnTo>
                  <a:pt x="4004119" y="2857500"/>
                </a:lnTo>
                <a:lnTo>
                  <a:pt x="4043502" y="2832100"/>
                </a:lnTo>
                <a:lnTo>
                  <a:pt x="4082161" y="2806700"/>
                </a:lnTo>
                <a:lnTo>
                  <a:pt x="4120083" y="2781300"/>
                </a:lnTo>
                <a:lnTo>
                  <a:pt x="4157230" y="2755900"/>
                </a:lnTo>
                <a:lnTo>
                  <a:pt x="4193578" y="2730500"/>
                </a:lnTo>
                <a:lnTo>
                  <a:pt x="4229125" y="2705100"/>
                </a:lnTo>
                <a:lnTo>
                  <a:pt x="4263822" y="2679700"/>
                </a:lnTo>
                <a:lnTo>
                  <a:pt x="4297667" y="2641600"/>
                </a:lnTo>
                <a:lnTo>
                  <a:pt x="4330636" y="2616200"/>
                </a:lnTo>
                <a:lnTo>
                  <a:pt x="4362691" y="2590800"/>
                </a:lnTo>
                <a:lnTo>
                  <a:pt x="4393831" y="2552700"/>
                </a:lnTo>
                <a:lnTo>
                  <a:pt x="4424019" y="2514600"/>
                </a:lnTo>
                <a:lnTo>
                  <a:pt x="4453242" y="2489200"/>
                </a:lnTo>
                <a:lnTo>
                  <a:pt x="4481474" y="2451100"/>
                </a:lnTo>
                <a:lnTo>
                  <a:pt x="4508678" y="2413000"/>
                </a:lnTo>
                <a:lnTo>
                  <a:pt x="4534852" y="2374900"/>
                </a:lnTo>
                <a:lnTo>
                  <a:pt x="4559973" y="2336800"/>
                </a:lnTo>
                <a:lnTo>
                  <a:pt x="4584001" y="2298700"/>
                </a:lnTo>
                <a:lnTo>
                  <a:pt x="4606937" y="2260600"/>
                </a:lnTo>
                <a:lnTo>
                  <a:pt x="4628743" y="2222500"/>
                </a:lnTo>
                <a:lnTo>
                  <a:pt x="4649394" y="2184400"/>
                </a:lnTo>
                <a:lnTo>
                  <a:pt x="4668875" y="2146300"/>
                </a:lnTo>
                <a:lnTo>
                  <a:pt x="4687176" y="2108200"/>
                </a:lnTo>
                <a:lnTo>
                  <a:pt x="4704245" y="2057400"/>
                </a:lnTo>
                <a:lnTo>
                  <a:pt x="4720082" y="2019300"/>
                </a:lnTo>
                <a:lnTo>
                  <a:pt x="4734661" y="1981200"/>
                </a:lnTo>
                <a:lnTo>
                  <a:pt x="4747958" y="1930400"/>
                </a:lnTo>
                <a:lnTo>
                  <a:pt x="4759947" y="1892300"/>
                </a:lnTo>
                <a:lnTo>
                  <a:pt x="4770615" y="1841500"/>
                </a:lnTo>
                <a:lnTo>
                  <a:pt x="4779937" y="1803400"/>
                </a:lnTo>
                <a:lnTo>
                  <a:pt x="4787874" y="1752600"/>
                </a:lnTo>
                <a:lnTo>
                  <a:pt x="4794428" y="1701800"/>
                </a:lnTo>
                <a:lnTo>
                  <a:pt x="4799558" y="1663700"/>
                </a:lnTo>
                <a:lnTo>
                  <a:pt x="4803254" y="1612900"/>
                </a:lnTo>
                <a:lnTo>
                  <a:pt x="4805477" y="1562100"/>
                </a:lnTo>
                <a:lnTo>
                  <a:pt x="4806226" y="1511300"/>
                </a:lnTo>
                <a:close/>
              </a:path>
              <a:path w="20093940" h="6407150">
                <a:moveTo>
                  <a:pt x="5959208" y="3337039"/>
                </a:moveTo>
                <a:lnTo>
                  <a:pt x="5957544" y="3290112"/>
                </a:lnTo>
                <a:lnTo>
                  <a:pt x="5952655" y="3244062"/>
                </a:lnTo>
                <a:lnTo>
                  <a:pt x="5944641" y="3199003"/>
                </a:lnTo>
                <a:lnTo>
                  <a:pt x="5933618" y="3155048"/>
                </a:lnTo>
                <a:lnTo>
                  <a:pt x="5933579" y="3337039"/>
                </a:lnTo>
                <a:lnTo>
                  <a:pt x="5931852" y="3383965"/>
                </a:lnTo>
                <a:lnTo>
                  <a:pt x="5931840" y="3384169"/>
                </a:lnTo>
                <a:lnTo>
                  <a:pt x="5926747" y="3430016"/>
                </a:lnTo>
                <a:lnTo>
                  <a:pt x="5926709" y="3430371"/>
                </a:lnTo>
                <a:lnTo>
                  <a:pt x="5918390" y="3475063"/>
                </a:lnTo>
                <a:lnTo>
                  <a:pt x="5918314" y="3475520"/>
                </a:lnTo>
                <a:lnTo>
                  <a:pt x="5906884" y="3519017"/>
                </a:lnTo>
                <a:lnTo>
                  <a:pt x="5906757" y="3519487"/>
                </a:lnTo>
                <a:lnTo>
                  <a:pt x="5892190" y="3562159"/>
                </a:lnTo>
                <a:lnTo>
                  <a:pt x="5874817" y="3603167"/>
                </a:lnTo>
                <a:lnTo>
                  <a:pt x="5874715" y="3603421"/>
                </a:lnTo>
                <a:lnTo>
                  <a:pt x="5854446" y="3643134"/>
                </a:lnTo>
                <a:lnTo>
                  <a:pt x="5831548" y="3681158"/>
                </a:lnTo>
                <a:lnTo>
                  <a:pt x="5806110" y="3717404"/>
                </a:lnTo>
                <a:lnTo>
                  <a:pt x="5778258" y="3751745"/>
                </a:lnTo>
                <a:lnTo>
                  <a:pt x="5748134" y="3784041"/>
                </a:lnTo>
                <a:lnTo>
                  <a:pt x="5715838" y="3814165"/>
                </a:lnTo>
                <a:lnTo>
                  <a:pt x="5681510" y="3842016"/>
                </a:lnTo>
                <a:lnTo>
                  <a:pt x="5645264" y="3867454"/>
                </a:lnTo>
                <a:lnTo>
                  <a:pt x="5607215" y="3890365"/>
                </a:lnTo>
                <a:lnTo>
                  <a:pt x="5567515" y="3910609"/>
                </a:lnTo>
                <a:lnTo>
                  <a:pt x="5526265" y="3928084"/>
                </a:lnTo>
                <a:lnTo>
                  <a:pt x="5483580" y="3942664"/>
                </a:lnTo>
                <a:lnTo>
                  <a:pt x="5439613" y="3954208"/>
                </a:lnTo>
                <a:lnTo>
                  <a:pt x="5394464" y="3962616"/>
                </a:lnTo>
                <a:lnTo>
                  <a:pt x="5348262" y="3967746"/>
                </a:lnTo>
                <a:lnTo>
                  <a:pt x="5301119" y="3969499"/>
                </a:lnTo>
                <a:lnTo>
                  <a:pt x="5254002" y="3967746"/>
                </a:lnTo>
                <a:lnTo>
                  <a:pt x="5207800" y="3962616"/>
                </a:lnTo>
                <a:lnTo>
                  <a:pt x="5162651" y="3954208"/>
                </a:lnTo>
                <a:lnTo>
                  <a:pt x="5118671" y="3942664"/>
                </a:lnTo>
                <a:lnTo>
                  <a:pt x="5075999" y="3928084"/>
                </a:lnTo>
                <a:lnTo>
                  <a:pt x="5034750" y="3910609"/>
                </a:lnTo>
                <a:lnTo>
                  <a:pt x="4995037" y="3890365"/>
                </a:lnTo>
                <a:lnTo>
                  <a:pt x="4957000" y="3867454"/>
                </a:lnTo>
                <a:lnTo>
                  <a:pt x="4920754" y="3842016"/>
                </a:lnTo>
                <a:lnTo>
                  <a:pt x="4886426" y="3814165"/>
                </a:lnTo>
                <a:lnTo>
                  <a:pt x="4854130" y="3784041"/>
                </a:lnTo>
                <a:lnTo>
                  <a:pt x="4823993" y="3751745"/>
                </a:lnTo>
                <a:lnTo>
                  <a:pt x="4796155" y="3717404"/>
                </a:lnTo>
                <a:lnTo>
                  <a:pt x="4770717" y="3681158"/>
                </a:lnTo>
                <a:lnTo>
                  <a:pt x="4747806" y="3643134"/>
                </a:lnTo>
                <a:lnTo>
                  <a:pt x="4727549" y="3603421"/>
                </a:lnTo>
                <a:lnTo>
                  <a:pt x="4710074" y="3562159"/>
                </a:lnTo>
                <a:lnTo>
                  <a:pt x="4695495" y="3519487"/>
                </a:lnTo>
                <a:lnTo>
                  <a:pt x="4683950" y="3475520"/>
                </a:lnTo>
                <a:lnTo>
                  <a:pt x="4675543" y="3430371"/>
                </a:lnTo>
                <a:lnTo>
                  <a:pt x="4670412" y="3384169"/>
                </a:lnTo>
                <a:lnTo>
                  <a:pt x="4668672" y="3337039"/>
                </a:lnTo>
                <a:lnTo>
                  <a:pt x="4670412" y="3290112"/>
                </a:lnTo>
                <a:lnTo>
                  <a:pt x="4670412" y="3289909"/>
                </a:lnTo>
                <a:lnTo>
                  <a:pt x="4675505" y="3244062"/>
                </a:lnTo>
                <a:lnTo>
                  <a:pt x="4675543" y="3243707"/>
                </a:lnTo>
                <a:lnTo>
                  <a:pt x="4683861" y="3199003"/>
                </a:lnTo>
                <a:lnTo>
                  <a:pt x="4683950" y="3198558"/>
                </a:lnTo>
                <a:lnTo>
                  <a:pt x="4695380" y="3155048"/>
                </a:lnTo>
                <a:lnTo>
                  <a:pt x="4695495" y="3154578"/>
                </a:lnTo>
                <a:lnTo>
                  <a:pt x="4710074" y="3111906"/>
                </a:lnTo>
                <a:lnTo>
                  <a:pt x="4727435" y="3070910"/>
                </a:lnTo>
                <a:lnTo>
                  <a:pt x="4747806" y="3030944"/>
                </a:lnTo>
                <a:lnTo>
                  <a:pt x="4770717" y="2992907"/>
                </a:lnTo>
                <a:lnTo>
                  <a:pt x="4796155" y="2956661"/>
                </a:lnTo>
                <a:lnTo>
                  <a:pt x="4823993" y="2922320"/>
                </a:lnTo>
                <a:lnTo>
                  <a:pt x="4854130" y="2890037"/>
                </a:lnTo>
                <a:lnTo>
                  <a:pt x="4886426" y="2859900"/>
                </a:lnTo>
                <a:lnTo>
                  <a:pt x="4920754" y="2832049"/>
                </a:lnTo>
                <a:lnTo>
                  <a:pt x="4957000" y="2806611"/>
                </a:lnTo>
                <a:lnTo>
                  <a:pt x="4995037" y="2783713"/>
                </a:lnTo>
                <a:lnTo>
                  <a:pt x="5034750" y="2763456"/>
                </a:lnTo>
                <a:lnTo>
                  <a:pt x="5075999" y="2745981"/>
                </a:lnTo>
                <a:lnTo>
                  <a:pt x="5118671" y="2731401"/>
                </a:lnTo>
                <a:lnTo>
                  <a:pt x="5162651" y="2719857"/>
                </a:lnTo>
                <a:lnTo>
                  <a:pt x="5207800" y="2711450"/>
                </a:lnTo>
                <a:lnTo>
                  <a:pt x="5254002" y="2706319"/>
                </a:lnTo>
                <a:lnTo>
                  <a:pt x="5301132" y="2704579"/>
                </a:lnTo>
                <a:lnTo>
                  <a:pt x="5348262" y="2706319"/>
                </a:lnTo>
                <a:lnTo>
                  <a:pt x="5394464" y="2711450"/>
                </a:lnTo>
                <a:lnTo>
                  <a:pt x="5439613" y="2719857"/>
                </a:lnTo>
                <a:lnTo>
                  <a:pt x="5483580" y="2731401"/>
                </a:lnTo>
                <a:lnTo>
                  <a:pt x="5526265" y="2745981"/>
                </a:lnTo>
                <a:lnTo>
                  <a:pt x="5567515" y="2763456"/>
                </a:lnTo>
                <a:lnTo>
                  <a:pt x="5607215" y="2783713"/>
                </a:lnTo>
                <a:lnTo>
                  <a:pt x="5645264" y="2806611"/>
                </a:lnTo>
                <a:lnTo>
                  <a:pt x="5681510" y="2832049"/>
                </a:lnTo>
                <a:lnTo>
                  <a:pt x="5715838" y="2859900"/>
                </a:lnTo>
                <a:lnTo>
                  <a:pt x="5748134" y="2890037"/>
                </a:lnTo>
                <a:lnTo>
                  <a:pt x="5778258" y="2922320"/>
                </a:lnTo>
                <a:lnTo>
                  <a:pt x="5806110" y="2956661"/>
                </a:lnTo>
                <a:lnTo>
                  <a:pt x="5831548" y="2992907"/>
                </a:lnTo>
                <a:lnTo>
                  <a:pt x="5854458" y="3030944"/>
                </a:lnTo>
                <a:lnTo>
                  <a:pt x="5874715" y="3070656"/>
                </a:lnTo>
                <a:lnTo>
                  <a:pt x="5892190" y="3111906"/>
                </a:lnTo>
                <a:lnTo>
                  <a:pt x="5906757" y="3154578"/>
                </a:lnTo>
                <a:lnTo>
                  <a:pt x="5918314" y="3198558"/>
                </a:lnTo>
                <a:lnTo>
                  <a:pt x="5926709" y="3243707"/>
                </a:lnTo>
                <a:lnTo>
                  <a:pt x="5931840" y="3289909"/>
                </a:lnTo>
                <a:lnTo>
                  <a:pt x="5933579" y="3337039"/>
                </a:lnTo>
                <a:lnTo>
                  <a:pt x="5933579" y="3154934"/>
                </a:lnTo>
                <a:lnTo>
                  <a:pt x="5919686" y="3112312"/>
                </a:lnTo>
                <a:lnTo>
                  <a:pt x="5902972" y="3070910"/>
                </a:lnTo>
                <a:lnTo>
                  <a:pt x="5883580" y="3030944"/>
                </a:lnTo>
                <a:lnTo>
                  <a:pt x="5861634" y="2992526"/>
                </a:lnTo>
                <a:lnTo>
                  <a:pt x="5837225" y="2955772"/>
                </a:lnTo>
                <a:lnTo>
                  <a:pt x="5810491" y="2920809"/>
                </a:lnTo>
                <a:lnTo>
                  <a:pt x="5781522" y="2887726"/>
                </a:lnTo>
                <a:lnTo>
                  <a:pt x="5750445" y="2856636"/>
                </a:lnTo>
                <a:lnTo>
                  <a:pt x="5717362" y="2827680"/>
                </a:lnTo>
                <a:lnTo>
                  <a:pt x="5682386" y="2800934"/>
                </a:lnTo>
                <a:lnTo>
                  <a:pt x="5645632" y="2776537"/>
                </a:lnTo>
                <a:lnTo>
                  <a:pt x="5607228" y="2754579"/>
                </a:lnTo>
                <a:lnTo>
                  <a:pt x="5567261" y="2735186"/>
                </a:lnTo>
                <a:lnTo>
                  <a:pt x="5525846" y="2718473"/>
                </a:lnTo>
                <a:lnTo>
                  <a:pt x="5483212" y="2704579"/>
                </a:lnTo>
                <a:lnTo>
                  <a:pt x="5439156" y="2693517"/>
                </a:lnTo>
                <a:lnTo>
                  <a:pt x="5394109" y="2685504"/>
                </a:lnTo>
                <a:lnTo>
                  <a:pt x="5348059" y="2680614"/>
                </a:lnTo>
                <a:lnTo>
                  <a:pt x="5301132" y="2678963"/>
                </a:lnTo>
                <a:lnTo>
                  <a:pt x="5254206" y="2680614"/>
                </a:lnTo>
                <a:lnTo>
                  <a:pt x="5208155" y="2685504"/>
                </a:lnTo>
                <a:lnTo>
                  <a:pt x="5163096" y="2693517"/>
                </a:lnTo>
                <a:lnTo>
                  <a:pt x="5119052" y="2704579"/>
                </a:lnTo>
                <a:lnTo>
                  <a:pt x="5076406" y="2718473"/>
                </a:lnTo>
                <a:lnTo>
                  <a:pt x="5035004" y="2735186"/>
                </a:lnTo>
                <a:lnTo>
                  <a:pt x="4995037" y="2754579"/>
                </a:lnTo>
                <a:lnTo>
                  <a:pt x="4956619" y="2776537"/>
                </a:lnTo>
                <a:lnTo>
                  <a:pt x="4919878" y="2800934"/>
                </a:lnTo>
                <a:lnTo>
                  <a:pt x="4884902" y="2827680"/>
                </a:lnTo>
                <a:lnTo>
                  <a:pt x="4851819" y="2856636"/>
                </a:lnTo>
                <a:lnTo>
                  <a:pt x="4820742" y="2887726"/>
                </a:lnTo>
                <a:lnTo>
                  <a:pt x="4791773" y="2920809"/>
                </a:lnTo>
                <a:lnTo>
                  <a:pt x="4765027" y="2955772"/>
                </a:lnTo>
                <a:lnTo>
                  <a:pt x="4740630" y="2992526"/>
                </a:lnTo>
                <a:lnTo>
                  <a:pt x="4718672" y="3030944"/>
                </a:lnTo>
                <a:lnTo>
                  <a:pt x="4699406" y="3070656"/>
                </a:lnTo>
                <a:lnTo>
                  <a:pt x="4682566" y="3112312"/>
                </a:lnTo>
                <a:lnTo>
                  <a:pt x="4668647" y="3155048"/>
                </a:lnTo>
                <a:lnTo>
                  <a:pt x="4657737" y="3198558"/>
                </a:lnTo>
                <a:lnTo>
                  <a:pt x="4657623" y="3199003"/>
                </a:lnTo>
                <a:lnTo>
                  <a:pt x="4649660" y="3243707"/>
                </a:lnTo>
                <a:lnTo>
                  <a:pt x="4649597" y="3244062"/>
                </a:lnTo>
                <a:lnTo>
                  <a:pt x="4644733" y="3289909"/>
                </a:lnTo>
                <a:lnTo>
                  <a:pt x="4644707" y="3290112"/>
                </a:lnTo>
                <a:lnTo>
                  <a:pt x="4643056" y="3337039"/>
                </a:lnTo>
                <a:lnTo>
                  <a:pt x="4644707" y="3383965"/>
                </a:lnTo>
                <a:lnTo>
                  <a:pt x="4649597" y="3430016"/>
                </a:lnTo>
                <a:lnTo>
                  <a:pt x="4657623" y="3475063"/>
                </a:lnTo>
                <a:lnTo>
                  <a:pt x="4668647" y="3519017"/>
                </a:lnTo>
                <a:lnTo>
                  <a:pt x="4682566" y="3561753"/>
                </a:lnTo>
                <a:lnTo>
                  <a:pt x="4699292" y="3603167"/>
                </a:lnTo>
                <a:lnTo>
                  <a:pt x="4718672" y="3643134"/>
                </a:lnTo>
                <a:lnTo>
                  <a:pt x="4740630" y="3681552"/>
                </a:lnTo>
                <a:lnTo>
                  <a:pt x="4765027" y="3718293"/>
                </a:lnTo>
                <a:lnTo>
                  <a:pt x="4791773" y="3753269"/>
                </a:lnTo>
                <a:lnTo>
                  <a:pt x="4820742" y="3786352"/>
                </a:lnTo>
                <a:lnTo>
                  <a:pt x="4851819" y="3817429"/>
                </a:lnTo>
                <a:lnTo>
                  <a:pt x="4884902" y="3846398"/>
                </a:lnTo>
                <a:lnTo>
                  <a:pt x="4919878" y="3873131"/>
                </a:lnTo>
                <a:lnTo>
                  <a:pt x="4956619" y="3897541"/>
                </a:lnTo>
                <a:lnTo>
                  <a:pt x="4995037" y="3919486"/>
                </a:lnTo>
                <a:lnTo>
                  <a:pt x="5035004" y="3938879"/>
                </a:lnTo>
                <a:lnTo>
                  <a:pt x="5076406" y="3955592"/>
                </a:lnTo>
                <a:lnTo>
                  <a:pt x="5119141" y="3969524"/>
                </a:lnTo>
                <a:lnTo>
                  <a:pt x="5163096" y="3980548"/>
                </a:lnTo>
                <a:lnTo>
                  <a:pt x="5208155" y="3988562"/>
                </a:lnTo>
                <a:lnTo>
                  <a:pt x="5254206" y="3993451"/>
                </a:lnTo>
                <a:lnTo>
                  <a:pt x="5301132" y="3995102"/>
                </a:lnTo>
                <a:lnTo>
                  <a:pt x="5348059" y="3993451"/>
                </a:lnTo>
                <a:lnTo>
                  <a:pt x="5394109" y="3988562"/>
                </a:lnTo>
                <a:lnTo>
                  <a:pt x="5439156" y="3980548"/>
                </a:lnTo>
                <a:lnTo>
                  <a:pt x="5483110" y="3969524"/>
                </a:lnTo>
                <a:lnTo>
                  <a:pt x="5525846" y="3955592"/>
                </a:lnTo>
                <a:lnTo>
                  <a:pt x="5567261" y="3938879"/>
                </a:lnTo>
                <a:lnTo>
                  <a:pt x="5607228" y="3919486"/>
                </a:lnTo>
                <a:lnTo>
                  <a:pt x="5645632" y="3897541"/>
                </a:lnTo>
                <a:lnTo>
                  <a:pt x="5682386" y="3873131"/>
                </a:lnTo>
                <a:lnTo>
                  <a:pt x="5717362" y="3846398"/>
                </a:lnTo>
                <a:lnTo>
                  <a:pt x="5750445" y="3817429"/>
                </a:lnTo>
                <a:lnTo>
                  <a:pt x="5781522" y="3786352"/>
                </a:lnTo>
                <a:lnTo>
                  <a:pt x="5810491" y="3753269"/>
                </a:lnTo>
                <a:lnTo>
                  <a:pt x="5837225" y="3718293"/>
                </a:lnTo>
                <a:lnTo>
                  <a:pt x="5861634" y="3681552"/>
                </a:lnTo>
                <a:lnTo>
                  <a:pt x="5883580" y="3643134"/>
                </a:lnTo>
                <a:lnTo>
                  <a:pt x="5902845" y="3603421"/>
                </a:lnTo>
                <a:lnTo>
                  <a:pt x="5902972" y="3603167"/>
                </a:lnTo>
                <a:lnTo>
                  <a:pt x="5919686" y="3561753"/>
                </a:lnTo>
                <a:lnTo>
                  <a:pt x="5933618" y="3519017"/>
                </a:lnTo>
                <a:lnTo>
                  <a:pt x="5944527" y="3475520"/>
                </a:lnTo>
                <a:lnTo>
                  <a:pt x="5952591" y="3430371"/>
                </a:lnTo>
                <a:lnTo>
                  <a:pt x="5952655" y="3430016"/>
                </a:lnTo>
                <a:lnTo>
                  <a:pt x="5957532" y="3384169"/>
                </a:lnTo>
                <a:lnTo>
                  <a:pt x="5957544" y="3383965"/>
                </a:lnTo>
                <a:lnTo>
                  <a:pt x="5959208" y="3337039"/>
                </a:lnTo>
                <a:close/>
              </a:path>
              <a:path w="20093940" h="6407150">
                <a:moveTo>
                  <a:pt x="20093623" y="4888319"/>
                </a:moveTo>
                <a:lnTo>
                  <a:pt x="0" y="4888319"/>
                </a:lnTo>
                <a:lnTo>
                  <a:pt x="0" y="6406591"/>
                </a:lnTo>
                <a:lnTo>
                  <a:pt x="20093623" y="6406591"/>
                </a:lnTo>
                <a:lnTo>
                  <a:pt x="20093623" y="4888319"/>
                </a:lnTo>
                <a:close/>
              </a:path>
            </a:pathLst>
          </a:custGeom>
          <a:solidFill>
            <a:srgbClr val="0066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24226" y="5457624"/>
            <a:ext cx="4938365" cy="4275709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4747348" y="6819577"/>
            <a:ext cx="485140" cy="647065"/>
          </a:xfrm>
          <a:custGeom>
            <a:avLst/>
            <a:gdLst/>
            <a:ahLst/>
            <a:cxnLst/>
            <a:rect l="l" t="t" r="r" b="b"/>
            <a:pathLst>
              <a:path w="485139" h="647065">
                <a:moveTo>
                  <a:pt x="484568" y="309626"/>
                </a:moveTo>
                <a:lnTo>
                  <a:pt x="461111" y="265404"/>
                </a:lnTo>
                <a:lnTo>
                  <a:pt x="439915" y="258724"/>
                </a:lnTo>
                <a:lnTo>
                  <a:pt x="437769" y="258343"/>
                </a:lnTo>
                <a:lnTo>
                  <a:pt x="431038" y="258724"/>
                </a:lnTo>
                <a:lnTo>
                  <a:pt x="423367" y="258343"/>
                </a:lnTo>
                <a:lnTo>
                  <a:pt x="423468" y="241985"/>
                </a:lnTo>
                <a:lnTo>
                  <a:pt x="423519" y="234365"/>
                </a:lnTo>
                <a:lnTo>
                  <a:pt x="423100" y="211315"/>
                </a:lnTo>
                <a:lnTo>
                  <a:pt x="423011" y="205689"/>
                </a:lnTo>
                <a:lnTo>
                  <a:pt x="422884" y="193573"/>
                </a:lnTo>
                <a:lnTo>
                  <a:pt x="422833" y="187591"/>
                </a:lnTo>
                <a:lnTo>
                  <a:pt x="422262" y="174866"/>
                </a:lnTo>
                <a:lnTo>
                  <a:pt x="422173" y="172783"/>
                </a:lnTo>
                <a:lnTo>
                  <a:pt x="422059" y="170192"/>
                </a:lnTo>
                <a:lnTo>
                  <a:pt x="421982" y="168325"/>
                </a:lnTo>
                <a:lnTo>
                  <a:pt x="419620" y="149225"/>
                </a:lnTo>
                <a:lnTo>
                  <a:pt x="404723" y="101066"/>
                </a:lnTo>
                <a:lnTo>
                  <a:pt x="401853" y="96608"/>
                </a:lnTo>
                <a:lnTo>
                  <a:pt x="401853" y="184213"/>
                </a:lnTo>
                <a:lnTo>
                  <a:pt x="401853" y="258343"/>
                </a:lnTo>
                <a:lnTo>
                  <a:pt x="401840" y="184226"/>
                </a:lnTo>
                <a:lnTo>
                  <a:pt x="394436" y="134924"/>
                </a:lnTo>
                <a:lnTo>
                  <a:pt x="401853" y="184213"/>
                </a:lnTo>
                <a:lnTo>
                  <a:pt x="401853" y="96608"/>
                </a:lnTo>
                <a:lnTo>
                  <a:pt x="379336" y="61531"/>
                </a:lnTo>
                <a:lnTo>
                  <a:pt x="362775" y="47320"/>
                </a:lnTo>
                <a:lnTo>
                  <a:pt x="362775" y="209626"/>
                </a:lnTo>
                <a:lnTo>
                  <a:pt x="362534" y="255866"/>
                </a:lnTo>
                <a:lnTo>
                  <a:pt x="362534" y="198247"/>
                </a:lnTo>
                <a:lnTo>
                  <a:pt x="362775" y="209626"/>
                </a:lnTo>
                <a:lnTo>
                  <a:pt x="362775" y="47320"/>
                </a:lnTo>
                <a:lnTo>
                  <a:pt x="358825" y="43929"/>
                </a:lnTo>
                <a:lnTo>
                  <a:pt x="358825" y="152590"/>
                </a:lnTo>
                <a:lnTo>
                  <a:pt x="358787" y="152412"/>
                </a:lnTo>
                <a:lnTo>
                  <a:pt x="343408" y="115760"/>
                </a:lnTo>
                <a:lnTo>
                  <a:pt x="358800" y="152400"/>
                </a:lnTo>
                <a:lnTo>
                  <a:pt x="358825" y="152590"/>
                </a:lnTo>
                <a:lnTo>
                  <a:pt x="358825" y="43929"/>
                </a:lnTo>
                <a:lnTo>
                  <a:pt x="343763" y="30988"/>
                </a:lnTo>
                <a:lnTo>
                  <a:pt x="341007" y="29705"/>
                </a:lnTo>
                <a:lnTo>
                  <a:pt x="341007" y="174866"/>
                </a:lnTo>
                <a:lnTo>
                  <a:pt x="341007" y="257962"/>
                </a:lnTo>
                <a:lnTo>
                  <a:pt x="299262" y="257962"/>
                </a:lnTo>
                <a:lnTo>
                  <a:pt x="299262" y="420141"/>
                </a:lnTo>
                <a:lnTo>
                  <a:pt x="298754" y="431914"/>
                </a:lnTo>
                <a:lnTo>
                  <a:pt x="298640" y="434530"/>
                </a:lnTo>
                <a:lnTo>
                  <a:pt x="293979" y="448195"/>
                </a:lnTo>
                <a:lnTo>
                  <a:pt x="285242" y="460857"/>
                </a:lnTo>
                <a:lnTo>
                  <a:pt x="280555" y="466090"/>
                </a:lnTo>
                <a:lnTo>
                  <a:pt x="279628" y="470776"/>
                </a:lnTo>
                <a:lnTo>
                  <a:pt x="287896" y="508342"/>
                </a:lnTo>
                <a:lnTo>
                  <a:pt x="290296" y="519061"/>
                </a:lnTo>
                <a:lnTo>
                  <a:pt x="291274" y="528434"/>
                </a:lnTo>
                <a:lnTo>
                  <a:pt x="289115" y="534695"/>
                </a:lnTo>
                <a:lnTo>
                  <a:pt x="283591" y="538124"/>
                </a:lnTo>
                <a:lnTo>
                  <a:pt x="274205" y="539280"/>
                </a:lnTo>
                <a:lnTo>
                  <a:pt x="209626" y="539280"/>
                </a:lnTo>
                <a:lnTo>
                  <a:pt x="200723" y="538124"/>
                </a:lnTo>
                <a:lnTo>
                  <a:pt x="195414" y="534695"/>
                </a:lnTo>
                <a:lnTo>
                  <a:pt x="193382" y="528586"/>
                </a:lnTo>
                <a:lnTo>
                  <a:pt x="194271" y="519430"/>
                </a:lnTo>
                <a:lnTo>
                  <a:pt x="196672" y="508533"/>
                </a:lnTo>
                <a:lnTo>
                  <a:pt x="201383" y="486244"/>
                </a:lnTo>
                <a:lnTo>
                  <a:pt x="203822" y="475272"/>
                </a:lnTo>
                <a:lnTo>
                  <a:pt x="205130" y="469836"/>
                </a:lnTo>
                <a:lnTo>
                  <a:pt x="204190" y="466280"/>
                </a:lnTo>
                <a:lnTo>
                  <a:pt x="200266" y="461784"/>
                </a:lnTo>
                <a:lnTo>
                  <a:pt x="190461" y="447281"/>
                </a:lnTo>
                <a:lnTo>
                  <a:pt x="185737" y="431914"/>
                </a:lnTo>
                <a:lnTo>
                  <a:pt x="185953" y="420141"/>
                </a:lnTo>
                <a:lnTo>
                  <a:pt x="186029" y="415810"/>
                </a:lnTo>
                <a:lnTo>
                  <a:pt x="213207" y="374853"/>
                </a:lnTo>
                <a:lnTo>
                  <a:pt x="244246" y="366890"/>
                </a:lnTo>
                <a:lnTo>
                  <a:pt x="261708" y="370306"/>
                </a:lnTo>
                <a:lnTo>
                  <a:pt x="276326" y="377799"/>
                </a:lnTo>
                <a:lnTo>
                  <a:pt x="287807" y="389432"/>
                </a:lnTo>
                <a:lnTo>
                  <a:pt x="295910" y="405269"/>
                </a:lnTo>
                <a:lnTo>
                  <a:pt x="299262" y="420141"/>
                </a:lnTo>
                <a:lnTo>
                  <a:pt x="299262" y="257962"/>
                </a:lnTo>
                <a:lnTo>
                  <a:pt x="145427" y="257962"/>
                </a:lnTo>
                <a:lnTo>
                  <a:pt x="145300" y="250177"/>
                </a:lnTo>
                <a:lnTo>
                  <a:pt x="145186" y="241985"/>
                </a:lnTo>
                <a:lnTo>
                  <a:pt x="145059" y="234365"/>
                </a:lnTo>
                <a:lnTo>
                  <a:pt x="144513" y="211315"/>
                </a:lnTo>
                <a:lnTo>
                  <a:pt x="144602" y="187591"/>
                </a:lnTo>
                <a:lnTo>
                  <a:pt x="145986" y="165506"/>
                </a:lnTo>
                <a:lnTo>
                  <a:pt x="156235" y="132892"/>
                </a:lnTo>
                <a:lnTo>
                  <a:pt x="156311" y="132638"/>
                </a:lnTo>
                <a:lnTo>
                  <a:pt x="177965" y="106502"/>
                </a:lnTo>
                <a:lnTo>
                  <a:pt x="207860" y="89281"/>
                </a:lnTo>
                <a:lnTo>
                  <a:pt x="242938" y="83146"/>
                </a:lnTo>
                <a:lnTo>
                  <a:pt x="277164" y="89446"/>
                </a:lnTo>
                <a:lnTo>
                  <a:pt x="306412" y="106781"/>
                </a:lnTo>
                <a:lnTo>
                  <a:pt x="327977" y="132892"/>
                </a:lnTo>
                <a:lnTo>
                  <a:pt x="339140" y="165506"/>
                </a:lnTo>
                <a:lnTo>
                  <a:pt x="339890" y="170192"/>
                </a:lnTo>
                <a:lnTo>
                  <a:pt x="341007" y="174866"/>
                </a:lnTo>
                <a:lnTo>
                  <a:pt x="341007" y="29705"/>
                </a:lnTo>
                <a:lnTo>
                  <a:pt x="327329" y="23317"/>
                </a:lnTo>
                <a:lnTo>
                  <a:pt x="303606" y="12242"/>
                </a:lnTo>
                <a:lnTo>
                  <a:pt x="303606" y="79667"/>
                </a:lnTo>
                <a:lnTo>
                  <a:pt x="281825" y="67818"/>
                </a:lnTo>
                <a:lnTo>
                  <a:pt x="241808" y="61074"/>
                </a:lnTo>
                <a:lnTo>
                  <a:pt x="202171" y="68059"/>
                </a:lnTo>
                <a:lnTo>
                  <a:pt x="167576" y="87185"/>
                </a:lnTo>
                <a:lnTo>
                  <a:pt x="141084" y="116128"/>
                </a:lnTo>
                <a:lnTo>
                  <a:pt x="125857" y="152412"/>
                </a:lnTo>
                <a:lnTo>
                  <a:pt x="125768" y="152590"/>
                </a:lnTo>
                <a:lnTo>
                  <a:pt x="124167" y="161417"/>
                </a:lnTo>
                <a:lnTo>
                  <a:pt x="123177" y="170154"/>
                </a:lnTo>
                <a:lnTo>
                  <a:pt x="124155" y="161417"/>
                </a:lnTo>
                <a:lnTo>
                  <a:pt x="125768" y="152590"/>
                </a:lnTo>
                <a:lnTo>
                  <a:pt x="141084" y="116128"/>
                </a:lnTo>
                <a:lnTo>
                  <a:pt x="167576" y="87172"/>
                </a:lnTo>
                <a:lnTo>
                  <a:pt x="202171" y="68059"/>
                </a:lnTo>
                <a:lnTo>
                  <a:pt x="241808" y="61074"/>
                </a:lnTo>
                <a:lnTo>
                  <a:pt x="281838" y="67805"/>
                </a:lnTo>
                <a:lnTo>
                  <a:pt x="303606" y="79667"/>
                </a:lnTo>
                <a:lnTo>
                  <a:pt x="303606" y="12242"/>
                </a:lnTo>
                <a:lnTo>
                  <a:pt x="298348" y="9779"/>
                </a:lnTo>
                <a:lnTo>
                  <a:pt x="248323" y="0"/>
                </a:lnTo>
                <a:lnTo>
                  <a:pt x="200990" y="4102"/>
                </a:lnTo>
                <a:lnTo>
                  <a:pt x="156705" y="21704"/>
                </a:lnTo>
                <a:lnTo>
                  <a:pt x="122555" y="47434"/>
                </a:lnTo>
                <a:lnTo>
                  <a:pt x="122555" y="179489"/>
                </a:lnTo>
                <a:lnTo>
                  <a:pt x="122415" y="183121"/>
                </a:lnTo>
                <a:lnTo>
                  <a:pt x="122555" y="179489"/>
                </a:lnTo>
                <a:lnTo>
                  <a:pt x="122555" y="47434"/>
                </a:lnTo>
                <a:lnTo>
                  <a:pt x="122301" y="47625"/>
                </a:lnTo>
                <a:lnTo>
                  <a:pt x="122301" y="186169"/>
                </a:lnTo>
                <a:lnTo>
                  <a:pt x="122250" y="187591"/>
                </a:lnTo>
                <a:lnTo>
                  <a:pt x="122135" y="193573"/>
                </a:lnTo>
                <a:lnTo>
                  <a:pt x="122021" y="254317"/>
                </a:lnTo>
                <a:lnTo>
                  <a:pt x="121945" y="205689"/>
                </a:lnTo>
                <a:lnTo>
                  <a:pt x="122212" y="188531"/>
                </a:lnTo>
                <a:lnTo>
                  <a:pt x="122301" y="186169"/>
                </a:lnTo>
                <a:lnTo>
                  <a:pt x="122301" y="47625"/>
                </a:lnTo>
                <a:lnTo>
                  <a:pt x="115862" y="52463"/>
                </a:lnTo>
                <a:lnTo>
                  <a:pt x="107708" y="62014"/>
                </a:lnTo>
                <a:lnTo>
                  <a:pt x="107708" y="96634"/>
                </a:lnTo>
                <a:lnTo>
                  <a:pt x="89281" y="139306"/>
                </a:lnTo>
                <a:lnTo>
                  <a:pt x="83604" y="168325"/>
                </a:lnTo>
                <a:lnTo>
                  <a:pt x="89268" y="139293"/>
                </a:lnTo>
                <a:lnTo>
                  <a:pt x="107708" y="96634"/>
                </a:lnTo>
                <a:lnTo>
                  <a:pt x="107708" y="62014"/>
                </a:lnTo>
                <a:lnTo>
                  <a:pt x="91528" y="80949"/>
                </a:lnTo>
                <a:lnTo>
                  <a:pt x="83286" y="96316"/>
                </a:lnTo>
                <a:lnTo>
                  <a:pt x="83286" y="257213"/>
                </a:lnTo>
                <a:lnTo>
                  <a:pt x="83185" y="250177"/>
                </a:lnTo>
                <a:lnTo>
                  <a:pt x="83286" y="257213"/>
                </a:lnTo>
                <a:lnTo>
                  <a:pt x="83286" y="96316"/>
                </a:lnTo>
                <a:lnTo>
                  <a:pt x="82956" y="96926"/>
                </a:lnTo>
                <a:lnTo>
                  <a:pt x="82956" y="234365"/>
                </a:lnTo>
                <a:lnTo>
                  <a:pt x="82829" y="226517"/>
                </a:lnTo>
                <a:lnTo>
                  <a:pt x="82854" y="227215"/>
                </a:lnTo>
                <a:lnTo>
                  <a:pt x="82956" y="234365"/>
                </a:lnTo>
                <a:lnTo>
                  <a:pt x="82956" y="96926"/>
                </a:lnTo>
                <a:lnTo>
                  <a:pt x="74510" y="112661"/>
                </a:lnTo>
                <a:lnTo>
                  <a:pt x="64554" y="147345"/>
                </a:lnTo>
                <a:lnTo>
                  <a:pt x="61518" y="183172"/>
                </a:lnTo>
                <a:lnTo>
                  <a:pt x="61429" y="184213"/>
                </a:lnTo>
                <a:lnTo>
                  <a:pt x="61391" y="258533"/>
                </a:lnTo>
                <a:lnTo>
                  <a:pt x="58204" y="258724"/>
                </a:lnTo>
                <a:lnTo>
                  <a:pt x="56515" y="258902"/>
                </a:lnTo>
                <a:lnTo>
                  <a:pt x="54825" y="258902"/>
                </a:lnTo>
                <a:lnTo>
                  <a:pt x="50914" y="259511"/>
                </a:lnTo>
                <a:lnTo>
                  <a:pt x="50914" y="281178"/>
                </a:lnTo>
                <a:lnTo>
                  <a:pt x="38188" y="282943"/>
                </a:lnTo>
                <a:lnTo>
                  <a:pt x="50901" y="281178"/>
                </a:lnTo>
                <a:lnTo>
                  <a:pt x="50914" y="259511"/>
                </a:lnTo>
                <a:lnTo>
                  <a:pt x="30162" y="262712"/>
                </a:lnTo>
                <a:lnTo>
                  <a:pt x="23825" y="266547"/>
                </a:lnTo>
                <a:lnTo>
                  <a:pt x="23825" y="608304"/>
                </a:lnTo>
                <a:lnTo>
                  <a:pt x="22072" y="595058"/>
                </a:lnTo>
                <a:lnTo>
                  <a:pt x="22085" y="559384"/>
                </a:lnTo>
                <a:lnTo>
                  <a:pt x="22085" y="595058"/>
                </a:lnTo>
                <a:lnTo>
                  <a:pt x="23825" y="608304"/>
                </a:lnTo>
                <a:lnTo>
                  <a:pt x="23825" y="266547"/>
                </a:lnTo>
                <a:lnTo>
                  <a:pt x="13093" y="273037"/>
                </a:lnTo>
                <a:lnTo>
                  <a:pt x="3200" y="290385"/>
                </a:lnTo>
                <a:lnTo>
                  <a:pt x="0" y="315239"/>
                </a:lnTo>
                <a:lnTo>
                  <a:pt x="0" y="591121"/>
                </a:lnTo>
                <a:lnTo>
                  <a:pt x="13804" y="633501"/>
                </a:lnTo>
                <a:lnTo>
                  <a:pt x="56362" y="646899"/>
                </a:lnTo>
                <a:lnTo>
                  <a:pt x="406742" y="646899"/>
                </a:lnTo>
                <a:lnTo>
                  <a:pt x="437032" y="646722"/>
                </a:lnTo>
                <a:lnTo>
                  <a:pt x="455587" y="643153"/>
                </a:lnTo>
                <a:lnTo>
                  <a:pt x="470420" y="633501"/>
                </a:lnTo>
                <a:lnTo>
                  <a:pt x="476364" y="624814"/>
                </a:lnTo>
                <a:lnTo>
                  <a:pt x="480428" y="618896"/>
                </a:lnTo>
                <a:lnTo>
                  <a:pt x="484568" y="600481"/>
                </a:lnTo>
                <a:lnTo>
                  <a:pt x="484568" y="309626"/>
                </a:lnTo>
                <a:close/>
              </a:path>
            </a:pathLst>
          </a:custGeom>
          <a:solidFill>
            <a:srgbClr val="0066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933091" y="7186468"/>
            <a:ext cx="113531" cy="172383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7592251" y="5246305"/>
            <a:ext cx="1932939" cy="1930400"/>
          </a:xfrm>
          <a:custGeom>
            <a:avLst/>
            <a:gdLst/>
            <a:ahLst/>
            <a:cxnLst/>
            <a:rect l="l" t="t" r="r" b="b"/>
            <a:pathLst>
              <a:path w="1932940" h="1930400">
                <a:moveTo>
                  <a:pt x="1109025" y="12700"/>
                </a:moveTo>
                <a:lnTo>
                  <a:pt x="823795" y="12700"/>
                </a:lnTo>
                <a:lnTo>
                  <a:pt x="687612" y="50800"/>
                </a:lnTo>
                <a:lnTo>
                  <a:pt x="559368" y="88900"/>
                </a:lnTo>
                <a:lnTo>
                  <a:pt x="518644" y="114300"/>
                </a:lnTo>
                <a:lnTo>
                  <a:pt x="479026" y="139700"/>
                </a:lnTo>
                <a:lnTo>
                  <a:pt x="440569" y="165100"/>
                </a:lnTo>
                <a:lnTo>
                  <a:pt x="403329" y="190500"/>
                </a:lnTo>
                <a:lnTo>
                  <a:pt x="367362" y="215900"/>
                </a:lnTo>
                <a:lnTo>
                  <a:pt x="332723" y="241300"/>
                </a:lnTo>
                <a:lnTo>
                  <a:pt x="299468" y="266700"/>
                </a:lnTo>
                <a:lnTo>
                  <a:pt x="267653" y="304800"/>
                </a:lnTo>
                <a:lnTo>
                  <a:pt x="237334" y="342900"/>
                </a:lnTo>
                <a:lnTo>
                  <a:pt x="208567" y="368300"/>
                </a:lnTo>
                <a:lnTo>
                  <a:pt x="181408" y="406400"/>
                </a:lnTo>
                <a:lnTo>
                  <a:pt x="155911" y="444500"/>
                </a:lnTo>
                <a:lnTo>
                  <a:pt x="132134" y="482600"/>
                </a:lnTo>
                <a:lnTo>
                  <a:pt x="110131" y="520700"/>
                </a:lnTo>
                <a:lnTo>
                  <a:pt x="89960" y="558800"/>
                </a:lnTo>
                <a:lnTo>
                  <a:pt x="71674" y="609600"/>
                </a:lnTo>
                <a:lnTo>
                  <a:pt x="55331" y="647700"/>
                </a:lnTo>
                <a:lnTo>
                  <a:pt x="40986" y="685800"/>
                </a:lnTo>
                <a:lnTo>
                  <a:pt x="28695" y="736600"/>
                </a:lnTo>
                <a:lnTo>
                  <a:pt x="18513" y="787400"/>
                </a:lnTo>
                <a:lnTo>
                  <a:pt x="10497" y="825500"/>
                </a:lnTo>
                <a:lnTo>
                  <a:pt x="4702" y="876300"/>
                </a:lnTo>
                <a:lnTo>
                  <a:pt x="1185" y="927100"/>
                </a:lnTo>
                <a:lnTo>
                  <a:pt x="0" y="965200"/>
                </a:lnTo>
                <a:lnTo>
                  <a:pt x="1185" y="1016000"/>
                </a:lnTo>
                <a:lnTo>
                  <a:pt x="4702" y="1066800"/>
                </a:lnTo>
                <a:lnTo>
                  <a:pt x="10497" y="1117600"/>
                </a:lnTo>
                <a:lnTo>
                  <a:pt x="18513" y="1155700"/>
                </a:lnTo>
                <a:lnTo>
                  <a:pt x="28695" y="1206500"/>
                </a:lnTo>
                <a:lnTo>
                  <a:pt x="40986" y="1244600"/>
                </a:lnTo>
                <a:lnTo>
                  <a:pt x="55331" y="1295400"/>
                </a:lnTo>
                <a:lnTo>
                  <a:pt x="71674" y="1333500"/>
                </a:lnTo>
                <a:lnTo>
                  <a:pt x="89960" y="1371600"/>
                </a:lnTo>
                <a:lnTo>
                  <a:pt x="110131" y="1422400"/>
                </a:lnTo>
                <a:lnTo>
                  <a:pt x="132134" y="1460500"/>
                </a:lnTo>
                <a:lnTo>
                  <a:pt x="155911" y="1498600"/>
                </a:lnTo>
                <a:lnTo>
                  <a:pt x="181408" y="1536700"/>
                </a:lnTo>
                <a:lnTo>
                  <a:pt x="208567" y="1574800"/>
                </a:lnTo>
                <a:lnTo>
                  <a:pt x="237334" y="1600200"/>
                </a:lnTo>
                <a:lnTo>
                  <a:pt x="267653" y="1638300"/>
                </a:lnTo>
                <a:lnTo>
                  <a:pt x="299468" y="1663700"/>
                </a:lnTo>
                <a:lnTo>
                  <a:pt x="332723" y="1701800"/>
                </a:lnTo>
                <a:lnTo>
                  <a:pt x="367362" y="1727200"/>
                </a:lnTo>
                <a:lnTo>
                  <a:pt x="403329" y="1752600"/>
                </a:lnTo>
                <a:lnTo>
                  <a:pt x="440569" y="1778000"/>
                </a:lnTo>
                <a:lnTo>
                  <a:pt x="479026" y="1803400"/>
                </a:lnTo>
                <a:lnTo>
                  <a:pt x="518644" y="1828800"/>
                </a:lnTo>
                <a:lnTo>
                  <a:pt x="559368" y="1841500"/>
                </a:lnTo>
                <a:lnTo>
                  <a:pt x="601141" y="1866900"/>
                </a:lnTo>
                <a:lnTo>
                  <a:pt x="687612" y="1892300"/>
                </a:lnTo>
                <a:lnTo>
                  <a:pt x="823795" y="1930400"/>
                </a:lnTo>
                <a:lnTo>
                  <a:pt x="1109025" y="1930400"/>
                </a:lnTo>
                <a:lnTo>
                  <a:pt x="1200621" y="1905000"/>
                </a:lnTo>
                <a:lnTo>
                  <a:pt x="966410" y="1905000"/>
                </a:lnTo>
                <a:lnTo>
                  <a:pt x="918687" y="1892300"/>
                </a:lnTo>
                <a:lnTo>
                  <a:pt x="825155" y="1892300"/>
                </a:lnTo>
                <a:lnTo>
                  <a:pt x="690523" y="1854200"/>
                </a:lnTo>
                <a:lnTo>
                  <a:pt x="605231" y="1828800"/>
                </a:lnTo>
                <a:lnTo>
                  <a:pt x="564101" y="1803400"/>
                </a:lnTo>
                <a:lnTo>
                  <a:pt x="524060" y="1790700"/>
                </a:lnTo>
                <a:lnTo>
                  <a:pt x="485166" y="1765300"/>
                </a:lnTo>
                <a:lnTo>
                  <a:pt x="447478" y="1739900"/>
                </a:lnTo>
                <a:lnTo>
                  <a:pt x="411055" y="1714500"/>
                </a:lnTo>
                <a:lnTo>
                  <a:pt x="375957" y="1689100"/>
                </a:lnTo>
                <a:lnTo>
                  <a:pt x="342241" y="1663700"/>
                </a:lnTo>
                <a:lnTo>
                  <a:pt x="309967" y="1625600"/>
                </a:lnTo>
                <a:lnTo>
                  <a:pt x="279193" y="1600200"/>
                </a:lnTo>
                <a:lnTo>
                  <a:pt x="249978" y="1562100"/>
                </a:lnTo>
                <a:lnTo>
                  <a:pt x="222381" y="1524000"/>
                </a:lnTo>
                <a:lnTo>
                  <a:pt x="196461" y="1485900"/>
                </a:lnTo>
                <a:lnTo>
                  <a:pt x="172277" y="1447800"/>
                </a:lnTo>
                <a:lnTo>
                  <a:pt x="149887" y="1409700"/>
                </a:lnTo>
                <a:lnTo>
                  <a:pt x="129351" y="1371600"/>
                </a:lnTo>
                <a:lnTo>
                  <a:pt x="110726" y="1333500"/>
                </a:lnTo>
                <a:lnTo>
                  <a:pt x="94073" y="1295400"/>
                </a:lnTo>
                <a:lnTo>
                  <a:pt x="79449" y="1244600"/>
                </a:lnTo>
                <a:lnTo>
                  <a:pt x="66913" y="1206500"/>
                </a:lnTo>
                <a:lnTo>
                  <a:pt x="56525" y="1155700"/>
                </a:lnTo>
                <a:lnTo>
                  <a:pt x="48343" y="1117600"/>
                </a:lnTo>
                <a:lnTo>
                  <a:pt x="42426" y="1066800"/>
                </a:lnTo>
                <a:lnTo>
                  <a:pt x="38832" y="1016000"/>
                </a:lnTo>
                <a:lnTo>
                  <a:pt x="37621" y="965200"/>
                </a:lnTo>
                <a:lnTo>
                  <a:pt x="38832" y="927100"/>
                </a:lnTo>
                <a:lnTo>
                  <a:pt x="42426" y="876300"/>
                </a:lnTo>
                <a:lnTo>
                  <a:pt x="48343" y="825500"/>
                </a:lnTo>
                <a:lnTo>
                  <a:pt x="56525" y="787400"/>
                </a:lnTo>
                <a:lnTo>
                  <a:pt x="66913" y="736600"/>
                </a:lnTo>
                <a:lnTo>
                  <a:pt x="79449" y="698500"/>
                </a:lnTo>
                <a:lnTo>
                  <a:pt x="94073" y="647700"/>
                </a:lnTo>
                <a:lnTo>
                  <a:pt x="110726" y="609600"/>
                </a:lnTo>
                <a:lnTo>
                  <a:pt x="129351" y="571500"/>
                </a:lnTo>
                <a:lnTo>
                  <a:pt x="149887" y="533400"/>
                </a:lnTo>
                <a:lnTo>
                  <a:pt x="172277" y="495300"/>
                </a:lnTo>
                <a:lnTo>
                  <a:pt x="196461" y="457200"/>
                </a:lnTo>
                <a:lnTo>
                  <a:pt x="222381" y="419100"/>
                </a:lnTo>
                <a:lnTo>
                  <a:pt x="249978" y="381000"/>
                </a:lnTo>
                <a:lnTo>
                  <a:pt x="279193" y="342900"/>
                </a:lnTo>
                <a:lnTo>
                  <a:pt x="309967" y="317500"/>
                </a:lnTo>
                <a:lnTo>
                  <a:pt x="342241" y="279400"/>
                </a:lnTo>
                <a:lnTo>
                  <a:pt x="375957" y="254000"/>
                </a:lnTo>
                <a:lnTo>
                  <a:pt x="411055" y="228600"/>
                </a:lnTo>
                <a:lnTo>
                  <a:pt x="447478" y="203200"/>
                </a:lnTo>
                <a:lnTo>
                  <a:pt x="485166" y="177800"/>
                </a:lnTo>
                <a:lnTo>
                  <a:pt x="524060" y="152400"/>
                </a:lnTo>
                <a:lnTo>
                  <a:pt x="564101" y="127000"/>
                </a:lnTo>
                <a:lnTo>
                  <a:pt x="647392" y="101600"/>
                </a:lnTo>
                <a:lnTo>
                  <a:pt x="779463" y="63500"/>
                </a:lnTo>
                <a:lnTo>
                  <a:pt x="825155" y="50800"/>
                </a:lnTo>
                <a:lnTo>
                  <a:pt x="871583" y="50800"/>
                </a:lnTo>
                <a:lnTo>
                  <a:pt x="918687" y="38100"/>
                </a:lnTo>
                <a:lnTo>
                  <a:pt x="1200621" y="38100"/>
                </a:lnTo>
                <a:lnTo>
                  <a:pt x="1109025" y="12700"/>
                </a:lnTo>
                <a:close/>
              </a:path>
              <a:path w="1932940" h="1930400">
                <a:moveTo>
                  <a:pt x="1200621" y="38100"/>
                </a:moveTo>
                <a:lnTo>
                  <a:pt x="1014133" y="38100"/>
                </a:lnTo>
                <a:lnTo>
                  <a:pt x="1061237" y="50800"/>
                </a:lnTo>
                <a:lnTo>
                  <a:pt x="1107665" y="50800"/>
                </a:lnTo>
                <a:lnTo>
                  <a:pt x="1153356" y="63500"/>
                </a:lnTo>
                <a:lnTo>
                  <a:pt x="1285428" y="101600"/>
                </a:lnTo>
                <a:lnTo>
                  <a:pt x="1368719" y="127000"/>
                </a:lnTo>
                <a:lnTo>
                  <a:pt x="1408760" y="152400"/>
                </a:lnTo>
                <a:lnTo>
                  <a:pt x="1447654" y="177800"/>
                </a:lnTo>
                <a:lnTo>
                  <a:pt x="1485342" y="203200"/>
                </a:lnTo>
                <a:lnTo>
                  <a:pt x="1521764" y="228600"/>
                </a:lnTo>
                <a:lnTo>
                  <a:pt x="1556863" y="254000"/>
                </a:lnTo>
                <a:lnTo>
                  <a:pt x="1590579" y="279400"/>
                </a:lnTo>
                <a:lnTo>
                  <a:pt x="1622853" y="317500"/>
                </a:lnTo>
                <a:lnTo>
                  <a:pt x="1653627" y="342900"/>
                </a:lnTo>
                <a:lnTo>
                  <a:pt x="1682842" y="381000"/>
                </a:lnTo>
                <a:lnTo>
                  <a:pt x="1710439" y="419100"/>
                </a:lnTo>
                <a:lnTo>
                  <a:pt x="1736358" y="457200"/>
                </a:lnTo>
                <a:lnTo>
                  <a:pt x="1760543" y="495300"/>
                </a:lnTo>
                <a:lnTo>
                  <a:pt x="1782932" y="533400"/>
                </a:lnTo>
                <a:lnTo>
                  <a:pt x="1803469" y="571500"/>
                </a:lnTo>
                <a:lnTo>
                  <a:pt x="1822094" y="609600"/>
                </a:lnTo>
                <a:lnTo>
                  <a:pt x="1838747" y="647700"/>
                </a:lnTo>
                <a:lnTo>
                  <a:pt x="1853371" y="698500"/>
                </a:lnTo>
                <a:lnTo>
                  <a:pt x="1865907" y="736600"/>
                </a:lnTo>
                <a:lnTo>
                  <a:pt x="1876295" y="787400"/>
                </a:lnTo>
                <a:lnTo>
                  <a:pt x="1884477" y="825500"/>
                </a:lnTo>
                <a:lnTo>
                  <a:pt x="1890394" y="876300"/>
                </a:lnTo>
                <a:lnTo>
                  <a:pt x="1893987" y="927100"/>
                </a:lnTo>
                <a:lnTo>
                  <a:pt x="1895198" y="965200"/>
                </a:lnTo>
                <a:lnTo>
                  <a:pt x="1893987" y="1016000"/>
                </a:lnTo>
                <a:lnTo>
                  <a:pt x="1890394" y="1066800"/>
                </a:lnTo>
                <a:lnTo>
                  <a:pt x="1884477" y="1117600"/>
                </a:lnTo>
                <a:lnTo>
                  <a:pt x="1876295" y="1155700"/>
                </a:lnTo>
                <a:lnTo>
                  <a:pt x="1865907" y="1206500"/>
                </a:lnTo>
                <a:lnTo>
                  <a:pt x="1853371" y="1244600"/>
                </a:lnTo>
                <a:lnTo>
                  <a:pt x="1838747" y="1295400"/>
                </a:lnTo>
                <a:lnTo>
                  <a:pt x="1822094" y="1333500"/>
                </a:lnTo>
                <a:lnTo>
                  <a:pt x="1803469" y="1371600"/>
                </a:lnTo>
                <a:lnTo>
                  <a:pt x="1782932" y="1409700"/>
                </a:lnTo>
                <a:lnTo>
                  <a:pt x="1760543" y="1447800"/>
                </a:lnTo>
                <a:lnTo>
                  <a:pt x="1736358" y="1485900"/>
                </a:lnTo>
                <a:lnTo>
                  <a:pt x="1710439" y="1524000"/>
                </a:lnTo>
                <a:lnTo>
                  <a:pt x="1682842" y="1562100"/>
                </a:lnTo>
                <a:lnTo>
                  <a:pt x="1653627" y="1600200"/>
                </a:lnTo>
                <a:lnTo>
                  <a:pt x="1622853" y="1625600"/>
                </a:lnTo>
                <a:lnTo>
                  <a:pt x="1590579" y="1663700"/>
                </a:lnTo>
                <a:lnTo>
                  <a:pt x="1556863" y="1689100"/>
                </a:lnTo>
                <a:lnTo>
                  <a:pt x="1521764" y="1714500"/>
                </a:lnTo>
                <a:lnTo>
                  <a:pt x="1485342" y="1739900"/>
                </a:lnTo>
                <a:lnTo>
                  <a:pt x="1447654" y="1765300"/>
                </a:lnTo>
                <a:lnTo>
                  <a:pt x="1408760" y="1790700"/>
                </a:lnTo>
                <a:lnTo>
                  <a:pt x="1368719" y="1803400"/>
                </a:lnTo>
                <a:lnTo>
                  <a:pt x="1327588" y="1828800"/>
                </a:lnTo>
                <a:lnTo>
                  <a:pt x="1242297" y="1854200"/>
                </a:lnTo>
                <a:lnTo>
                  <a:pt x="1107665" y="1892300"/>
                </a:lnTo>
                <a:lnTo>
                  <a:pt x="1014133" y="1892300"/>
                </a:lnTo>
                <a:lnTo>
                  <a:pt x="966410" y="1905000"/>
                </a:lnTo>
                <a:lnTo>
                  <a:pt x="1200621" y="1905000"/>
                </a:lnTo>
                <a:lnTo>
                  <a:pt x="1331679" y="1866900"/>
                </a:lnTo>
                <a:lnTo>
                  <a:pt x="1373452" y="1841500"/>
                </a:lnTo>
                <a:lnTo>
                  <a:pt x="1414175" y="1828800"/>
                </a:lnTo>
                <a:lnTo>
                  <a:pt x="1453794" y="1803400"/>
                </a:lnTo>
                <a:lnTo>
                  <a:pt x="1492251" y="1778000"/>
                </a:lnTo>
                <a:lnTo>
                  <a:pt x="1529491" y="1752600"/>
                </a:lnTo>
                <a:lnTo>
                  <a:pt x="1565458" y="1727200"/>
                </a:lnTo>
                <a:lnTo>
                  <a:pt x="1600097" y="1701800"/>
                </a:lnTo>
                <a:lnTo>
                  <a:pt x="1633352" y="1663700"/>
                </a:lnTo>
                <a:lnTo>
                  <a:pt x="1665167" y="1638300"/>
                </a:lnTo>
                <a:lnTo>
                  <a:pt x="1695485" y="1600200"/>
                </a:lnTo>
                <a:lnTo>
                  <a:pt x="1724252" y="1574800"/>
                </a:lnTo>
                <a:lnTo>
                  <a:pt x="1751412" y="1536700"/>
                </a:lnTo>
                <a:lnTo>
                  <a:pt x="1776908" y="1498600"/>
                </a:lnTo>
                <a:lnTo>
                  <a:pt x="1800686" y="1460500"/>
                </a:lnTo>
                <a:lnTo>
                  <a:pt x="1822688" y="1422400"/>
                </a:lnTo>
                <a:lnTo>
                  <a:pt x="1842860" y="1371600"/>
                </a:lnTo>
                <a:lnTo>
                  <a:pt x="1861145" y="1333500"/>
                </a:lnTo>
                <a:lnTo>
                  <a:pt x="1877489" y="1295400"/>
                </a:lnTo>
                <a:lnTo>
                  <a:pt x="1891834" y="1244600"/>
                </a:lnTo>
                <a:lnTo>
                  <a:pt x="1904125" y="1206500"/>
                </a:lnTo>
                <a:lnTo>
                  <a:pt x="1914306" y="1155700"/>
                </a:lnTo>
                <a:lnTo>
                  <a:pt x="1922322" y="1117600"/>
                </a:lnTo>
                <a:lnTo>
                  <a:pt x="1928117" y="1066800"/>
                </a:lnTo>
                <a:lnTo>
                  <a:pt x="1931635" y="1016000"/>
                </a:lnTo>
                <a:lnTo>
                  <a:pt x="1932820" y="965200"/>
                </a:lnTo>
                <a:lnTo>
                  <a:pt x="1931635" y="927100"/>
                </a:lnTo>
                <a:lnTo>
                  <a:pt x="1928117" y="876300"/>
                </a:lnTo>
                <a:lnTo>
                  <a:pt x="1922322" y="825500"/>
                </a:lnTo>
                <a:lnTo>
                  <a:pt x="1914306" y="787400"/>
                </a:lnTo>
                <a:lnTo>
                  <a:pt x="1904125" y="736600"/>
                </a:lnTo>
                <a:lnTo>
                  <a:pt x="1891834" y="685800"/>
                </a:lnTo>
                <a:lnTo>
                  <a:pt x="1877489" y="647700"/>
                </a:lnTo>
                <a:lnTo>
                  <a:pt x="1861145" y="609600"/>
                </a:lnTo>
                <a:lnTo>
                  <a:pt x="1842860" y="558800"/>
                </a:lnTo>
                <a:lnTo>
                  <a:pt x="1822688" y="520700"/>
                </a:lnTo>
                <a:lnTo>
                  <a:pt x="1800686" y="482600"/>
                </a:lnTo>
                <a:lnTo>
                  <a:pt x="1776908" y="444500"/>
                </a:lnTo>
                <a:lnTo>
                  <a:pt x="1751412" y="406400"/>
                </a:lnTo>
                <a:lnTo>
                  <a:pt x="1724252" y="368300"/>
                </a:lnTo>
                <a:lnTo>
                  <a:pt x="1695485" y="342900"/>
                </a:lnTo>
                <a:lnTo>
                  <a:pt x="1665167" y="304800"/>
                </a:lnTo>
                <a:lnTo>
                  <a:pt x="1633352" y="266700"/>
                </a:lnTo>
                <a:lnTo>
                  <a:pt x="1600097" y="241300"/>
                </a:lnTo>
                <a:lnTo>
                  <a:pt x="1565458" y="215900"/>
                </a:lnTo>
                <a:lnTo>
                  <a:pt x="1529491" y="190500"/>
                </a:lnTo>
                <a:lnTo>
                  <a:pt x="1492251" y="165100"/>
                </a:lnTo>
                <a:lnTo>
                  <a:pt x="1453794" y="139700"/>
                </a:lnTo>
                <a:lnTo>
                  <a:pt x="1414175" y="114300"/>
                </a:lnTo>
                <a:lnTo>
                  <a:pt x="1373452" y="88900"/>
                </a:lnTo>
                <a:lnTo>
                  <a:pt x="1245208" y="50800"/>
                </a:lnTo>
                <a:lnTo>
                  <a:pt x="1200621" y="38100"/>
                </a:lnTo>
                <a:close/>
              </a:path>
              <a:path w="1932940" h="1930400">
                <a:moveTo>
                  <a:pt x="1014570" y="0"/>
                </a:moveTo>
                <a:lnTo>
                  <a:pt x="918250" y="0"/>
                </a:lnTo>
                <a:lnTo>
                  <a:pt x="870693" y="12700"/>
                </a:lnTo>
                <a:lnTo>
                  <a:pt x="1062127" y="12700"/>
                </a:lnTo>
                <a:lnTo>
                  <a:pt x="1014570" y="0"/>
                </a:lnTo>
                <a:close/>
              </a:path>
            </a:pathLst>
          </a:custGeom>
          <a:solidFill>
            <a:srgbClr val="0066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2" name="bg object 22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861207" y="4930627"/>
            <a:ext cx="3615551" cy="4836027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7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2850163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C35E465-417A-2FF8-1C64-5CF2ED09DE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3733D63-D6F2-01B6-5852-F9FBA27872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5F87B8D-C059-EEBB-CA00-5C5F5C339D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C82A2-778F-4BF1-9FB4-06B42DCF93B4}" type="datetimeFigureOut">
              <a:rPr lang="es-ES" smtClean="0"/>
              <a:t>17/09/2024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5716E40-DBF0-C158-98F6-629505B486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623A344-EB58-C261-27C4-8ABDA48A87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F7994A-A5A3-4889-84E5-69D096F0357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62068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ondo_Imagen_Titular_Blanco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489" y="4245735"/>
            <a:ext cx="15653167" cy="2185952"/>
          </a:xfrm>
          <a:noFill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2611" y="6922505"/>
            <a:ext cx="15623046" cy="179326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10324EC9-24C7-174D-B246-CAB9B044A8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08081" y="686334"/>
            <a:ext cx="3289992" cy="936877"/>
          </a:xfrm>
          <a:prstGeom prst="rect">
            <a:avLst/>
          </a:prstGeom>
        </p:spPr>
      </p:pic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C8316937-F3C3-2748-8C71-018AB83C46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488311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871617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ndo_Blanco_Titular_Azu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15" y="4245736"/>
            <a:ext cx="15653167" cy="2185952"/>
          </a:xfrm>
          <a:noFill/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4035" y="6922505"/>
            <a:ext cx="15623046" cy="1793264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24A37FC6-CFAA-AA40-9AEC-EDB5AC61EE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9505" y="686336"/>
            <a:ext cx="3289992" cy="936877"/>
          </a:xfrm>
          <a:prstGeom prst="rect">
            <a:avLst/>
          </a:prstGeom>
        </p:spPr>
      </p:pic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F954BD66-1368-BA4D-A88F-DFD8931680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488313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997081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ndo_Azul_Titular_Blanc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15" y="4245736"/>
            <a:ext cx="15653167" cy="2185952"/>
          </a:xfrm>
          <a:noFill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2801" y="6922505"/>
            <a:ext cx="15623046" cy="179326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10324EC9-24C7-174D-B246-CAB9B044A8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9505" y="686336"/>
            <a:ext cx="3289992" cy="936877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75565342-32F0-F042-AECF-681BA10181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488313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811278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ondo_Imagen_Titular_Blanco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490" y="4245736"/>
            <a:ext cx="15653167" cy="2185952"/>
          </a:xfrm>
          <a:noFill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2611" y="6922505"/>
            <a:ext cx="15623046" cy="179326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10324EC9-24C7-174D-B246-CAB9B044A8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08081" y="686336"/>
            <a:ext cx="3289992" cy="936877"/>
          </a:xfrm>
          <a:prstGeom prst="rect">
            <a:avLst/>
          </a:prstGeom>
        </p:spPr>
      </p:pic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C8316937-F3C3-2748-8C71-018AB83C46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488313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1989628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ondo_Imagen_Titular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131" y="4245736"/>
            <a:ext cx="15653167" cy="2185952"/>
          </a:xfrm>
          <a:noFill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0252" y="6922505"/>
            <a:ext cx="15623046" cy="179326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03D061EE-99C1-1F4C-AEA3-647F443580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488313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076700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54F365-6453-428F-BCEF-2E9FA2875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2347" y="74096"/>
            <a:ext cx="16761437" cy="13418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s-ES" sz="3298" b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"/>
              <a:t>Haga clic para modificar el estilo de título del patrón</a:t>
            </a: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E2822421-DE89-4518-9420-7EBB166487E2}"/>
              </a:ext>
            </a:extLst>
          </p:cNvPr>
          <p:cNvGrpSpPr/>
          <p:nvPr userDrawn="1"/>
        </p:nvGrpSpPr>
        <p:grpSpPr>
          <a:xfrm>
            <a:off x="328426" y="451140"/>
            <a:ext cx="1910935" cy="587730"/>
            <a:chOff x="-1276898" y="1766240"/>
            <a:chExt cx="1053522" cy="324000"/>
          </a:xfrm>
          <a:solidFill>
            <a:schemeClr val="tx2"/>
          </a:solidFill>
        </p:grpSpPr>
        <p:sp>
          <p:nvSpPr>
            <p:cNvPr id="11" name="Elipse 10">
              <a:extLst>
                <a:ext uri="{FF2B5EF4-FFF2-40B4-BE49-F238E27FC236}">
                  <a16:creationId xmlns:a16="http://schemas.microsoft.com/office/drawing/2014/main" id="{642ECA7C-8EF0-4685-8E0D-5A2A90C4BC63}"/>
                </a:ext>
              </a:extLst>
            </p:cNvPr>
            <p:cNvSpPr/>
            <p:nvPr/>
          </p:nvSpPr>
          <p:spPr>
            <a:xfrm>
              <a:off x="-1276898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801" err="1">
                <a:solidFill>
                  <a:schemeClr val="tx1"/>
                </a:solidFill>
              </a:endParaRPr>
            </a:p>
          </p:txBody>
        </p:sp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9BAED245-D164-4980-ADD3-599ED072DD0E}"/>
                </a:ext>
              </a:extLst>
            </p:cNvPr>
            <p:cNvSpPr/>
            <p:nvPr/>
          </p:nvSpPr>
          <p:spPr>
            <a:xfrm>
              <a:off x="-912137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801" err="1">
                <a:solidFill>
                  <a:schemeClr val="tx1"/>
                </a:solidFill>
              </a:endParaRPr>
            </a:p>
          </p:txBody>
        </p:sp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5F1C9E51-8BBB-4713-9D8D-14E1E317CF4E}"/>
                </a:ext>
              </a:extLst>
            </p:cNvPr>
            <p:cNvSpPr/>
            <p:nvPr/>
          </p:nvSpPr>
          <p:spPr>
            <a:xfrm>
              <a:off x="-547376" y="1766240"/>
              <a:ext cx="324000" cy="324000"/>
            </a:xfrm>
            <a:prstGeom prst="ellipse">
              <a:avLst/>
            </a:prstGeom>
            <a:grpFill/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801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63995385-35C1-4622-8E5F-8B72B12DD1BC}"/>
              </a:ext>
            </a:extLst>
          </p:cNvPr>
          <p:cNvCxnSpPr>
            <a:cxnSpLocks/>
          </p:cNvCxnSpPr>
          <p:nvPr userDrawn="1"/>
        </p:nvCxnSpPr>
        <p:spPr>
          <a:xfrm rot="10800000">
            <a:off x="2566053" y="188308"/>
            <a:ext cx="0" cy="111339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548632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ndo_Azul_Logo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00DCAC73-46A0-4F44-878E-B326B1156B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72002" y="3874501"/>
            <a:ext cx="3560099" cy="3560351"/>
          </a:xfrm>
        </p:spPr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76687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ndo_Blanco_Titular_Azu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15" y="4245736"/>
            <a:ext cx="15653167" cy="2185952"/>
          </a:xfrm>
          <a:noFill/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4035" y="6922505"/>
            <a:ext cx="15623046" cy="1793264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24A37FC6-CFAA-AA40-9AEC-EDB5AC61EE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9505" y="686336"/>
            <a:ext cx="3289992" cy="936877"/>
          </a:xfrm>
          <a:prstGeom prst="rect">
            <a:avLst/>
          </a:prstGeom>
        </p:spPr>
      </p:pic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F954BD66-1368-BA4D-A88F-DFD8931680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488313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3603455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ndo_Azul_Titular_Blanc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15" y="4245736"/>
            <a:ext cx="15653167" cy="2185952"/>
          </a:xfrm>
          <a:noFill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2801" y="6922505"/>
            <a:ext cx="15623046" cy="179326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10324EC9-24C7-174D-B246-CAB9B044A8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9505" y="686336"/>
            <a:ext cx="3289992" cy="936877"/>
          </a:xfrm>
          <a:prstGeom prst="rect">
            <a:avLst/>
          </a:prstGeom>
        </p:spPr>
      </p:pic>
      <p:sp>
        <p:nvSpPr>
          <p:cNvPr id="9" name="Marcador de texto 2">
            <a:extLst>
              <a:ext uri="{FF2B5EF4-FFF2-40B4-BE49-F238E27FC236}">
                <a16:creationId xmlns:a16="http://schemas.microsoft.com/office/drawing/2014/main" id="{75565342-32F0-F042-AECF-681BA10181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488313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107108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ondo_Imagen_Titular_Blanco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490" y="4245736"/>
            <a:ext cx="15653167" cy="2185952"/>
          </a:xfrm>
          <a:noFill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2611" y="6922505"/>
            <a:ext cx="15623046" cy="179326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10324EC9-24C7-174D-B246-CAB9B044A8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08081" y="686336"/>
            <a:ext cx="3289992" cy="936877"/>
          </a:xfrm>
          <a:prstGeom prst="rect">
            <a:avLst/>
          </a:prstGeom>
        </p:spPr>
      </p:pic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C8316937-F3C3-2748-8C71-018AB83C46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488313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2634444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ondo_Imagen_Titular_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>
            <a:extLst>
              <a:ext uri="{FF2B5EF4-FFF2-40B4-BE49-F238E27FC236}">
                <a16:creationId xmlns:a16="http://schemas.microsoft.com/office/drawing/2014/main" id="{B2195D40-7462-8542-A18D-550DE9C8B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131" y="4245736"/>
            <a:ext cx="15653167" cy="2185952"/>
          </a:xfrm>
          <a:noFill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C2B20351-182C-9541-9E5C-E0CD51494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0252" y="6922505"/>
            <a:ext cx="15623046" cy="1793264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03D061EE-99C1-1F4C-AEA3-647F443580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002268" y="488313"/>
            <a:ext cx="3505128" cy="476459"/>
          </a:xfrm>
        </p:spPr>
        <p:txBody>
          <a:bodyPr>
            <a:noAutofit/>
          </a:bodyPr>
          <a:lstStyle>
            <a:lvl1pPr>
              <a:defRPr sz="1731" b="1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s-ES"/>
              <a:t>USO INTERNO RESTRINGIDO</a:t>
            </a:r>
          </a:p>
        </p:txBody>
      </p:sp>
    </p:spTree>
    <p:extLst>
      <p:ext uri="{BB962C8B-B14F-4D97-AF65-F5344CB8AC3E}">
        <p14:creationId xmlns:p14="http://schemas.microsoft.com/office/powerpoint/2010/main" val="835303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6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2.xml"/><Relationship Id="rId7" Type="http://schemas.openxmlformats.org/officeDocument/2006/relationships/theme" Target="../theme/theme11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5" Type="http://schemas.openxmlformats.org/officeDocument/2006/relationships/slideLayout" Target="../slideLayouts/slideLayout94.xml"/><Relationship Id="rId4" Type="http://schemas.openxmlformats.org/officeDocument/2006/relationships/slideLayout" Target="../slideLayouts/slideLayout9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98.xml"/><Relationship Id="rId7" Type="http://schemas.openxmlformats.org/officeDocument/2006/relationships/theme" Target="../theme/theme12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100.xml"/><Relationship Id="rId10" Type="http://schemas.openxmlformats.org/officeDocument/2006/relationships/image" Target="../media/image25.emf"/><Relationship Id="rId4" Type="http://schemas.openxmlformats.org/officeDocument/2006/relationships/slideLayout" Target="../slideLayouts/slideLayout99.xml"/><Relationship Id="rId9" Type="http://schemas.openxmlformats.org/officeDocument/2006/relationships/oleObject" Target="../embeddings/oleObject5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38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40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19" Type="http://schemas.openxmlformats.org/officeDocument/2006/relationships/image" Target="../media/image14.emf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image" Target="../media/image25.emf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5" Type="http://schemas.openxmlformats.org/officeDocument/2006/relationships/slideLayout" Target="../slideLayouts/slideLayout73.xml"/><Relationship Id="rId4" Type="http://schemas.openxmlformats.org/officeDocument/2006/relationships/slideLayout" Target="../slideLayouts/slideLayout7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5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9.xml"/><Relationship Id="rId9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180909" y="1567486"/>
            <a:ext cx="5864859" cy="17170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900" b="0" i="1">
                <a:solidFill>
                  <a:srgbClr val="0066FF"/>
                </a:solidFill>
                <a:latin typeface="Palatino Linotype"/>
                <a:cs typeface="Palatino Linotyp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005205" y="2601150"/>
            <a:ext cx="18093690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835394" y="10517696"/>
            <a:ext cx="6433312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005205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7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4474953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78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14" y="2542414"/>
            <a:ext cx="17339786" cy="218595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</a:t>
            </a:r>
            <a:r>
              <a:rPr lang="es-ES" err="1"/>
              <a:t>patrónz</a:t>
            </a:r>
            <a:endParaRPr lang="es-E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2858" y="5589891"/>
            <a:ext cx="17339786" cy="717567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42939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</p:sldLayoutIdLst>
  <p:hf hdr="0" ftr="0" dt="0"/>
  <p:txStyles>
    <p:titleStyle>
      <a:lvl1pPr algn="l" defTabSz="1507846" rtl="0" eaLnBrk="1" latinLnBrk="0" hangingPunct="1">
        <a:lnSpc>
          <a:spcPct val="90000"/>
        </a:lnSpc>
        <a:spcBef>
          <a:spcPct val="0"/>
        </a:spcBef>
        <a:buNone/>
        <a:defRPr sz="8905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507846" rtl="0" eaLnBrk="1" latinLnBrk="0" hangingPunct="1">
        <a:lnSpc>
          <a:spcPct val="90000"/>
        </a:lnSpc>
        <a:spcBef>
          <a:spcPts val="1649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753923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507846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2261768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3015691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4146575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498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21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34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3613">
          <p15:clr>
            <a:srgbClr val="F26B43"/>
          </p15:clr>
        </p15:guide>
        <p15:guide id="9" pos="3386">
          <p15:clr>
            <a:srgbClr val="F26B43"/>
          </p15:clr>
        </p15:guide>
        <p15:guide id="10" pos="3160">
          <p15:clr>
            <a:srgbClr val="F26B43"/>
          </p15:clr>
        </p15:guide>
        <p15:guide id="11" pos="2933">
          <p15:clr>
            <a:srgbClr val="F26B43"/>
          </p15:clr>
        </p15:guide>
        <p15:guide id="12" pos="2706">
          <p15:clr>
            <a:srgbClr val="F26B43"/>
          </p15:clr>
        </p15:guide>
        <p15:guide id="13" pos="2479">
          <p15:clr>
            <a:srgbClr val="F26B43"/>
          </p15:clr>
        </p15:guide>
        <p15:guide id="14" pos="2252">
          <p15:clr>
            <a:srgbClr val="F26B43"/>
          </p15:clr>
        </p15:guide>
        <p15:guide id="15" pos="2026">
          <p15:clr>
            <a:srgbClr val="F26B43"/>
          </p15:clr>
        </p15:guide>
        <p15:guide id="16" pos="1572">
          <p15:clr>
            <a:srgbClr val="F26B43"/>
          </p15:clr>
        </p15:guide>
        <p15:guide id="17" pos="1345">
          <p15:clr>
            <a:srgbClr val="F26B43"/>
          </p15:clr>
        </p15:guide>
        <p15:guide id="18" pos="1799">
          <p15:clr>
            <a:srgbClr val="F26B43"/>
          </p15:clr>
        </p15:guide>
        <p15:guide id="19" pos="1118">
          <p15:clr>
            <a:srgbClr val="F26B43"/>
          </p15:clr>
        </p15:guide>
        <p15:guide id="20" pos="892">
          <p15:clr>
            <a:srgbClr val="F26B43"/>
          </p15:clr>
        </p15:guide>
        <p15:guide id="21" pos="665">
          <p15:clr>
            <a:srgbClr val="F26B43"/>
          </p15:clr>
        </p15:guide>
        <p15:guide id="22" pos="438">
          <p15:clr>
            <a:srgbClr val="F26B43"/>
          </p15:clr>
        </p15:guide>
        <p15:guide id="23" pos="211">
          <p15:clr>
            <a:srgbClr val="F26B43"/>
          </p15:clr>
        </p15:guide>
        <p15:guide id="24" pos="4067">
          <p15:clr>
            <a:srgbClr val="F26B43"/>
          </p15:clr>
        </p15:guide>
        <p15:guide id="25" pos="4294">
          <p15:clr>
            <a:srgbClr val="F26B43"/>
          </p15:clr>
        </p15:guide>
        <p15:guide id="26" pos="4520">
          <p15:clr>
            <a:srgbClr val="F26B43"/>
          </p15:clr>
        </p15:guide>
        <p15:guide id="27" pos="4747">
          <p15:clr>
            <a:srgbClr val="F26B43"/>
          </p15:clr>
        </p15:guide>
        <p15:guide id="28" pos="4974">
          <p15:clr>
            <a:srgbClr val="F26B43"/>
          </p15:clr>
        </p15:guide>
        <p15:guide id="29" pos="5201">
          <p15:clr>
            <a:srgbClr val="F26B43"/>
          </p15:clr>
        </p15:guide>
        <p15:guide id="30" pos="5428">
          <p15:clr>
            <a:srgbClr val="F26B43"/>
          </p15:clr>
        </p15:guide>
        <p15:guide id="31" pos="5654">
          <p15:clr>
            <a:srgbClr val="F26B43"/>
          </p15:clr>
        </p15:guide>
        <p15:guide id="32" pos="5881">
          <p15:clr>
            <a:srgbClr val="F26B43"/>
          </p15:clr>
        </p15:guide>
        <p15:guide id="33" pos="6108">
          <p15:clr>
            <a:srgbClr val="F26B43"/>
          </p15:clr>
        </p15:guide>
        <p15:guide id="34" pos="6335">
          <p15:clr>
            <a:srgbClr val="F26B43"/>
          </p15:clr>
        </p15:guide>
        <p15:guide id="35" pos="6562">
          <p15:clr>
            <a:srgbClr val="F26B43"/>
          </p15:clr>
        </p15:guide>
        <p15:guide id="36" pos="6788">
          <p15:clr>
            <a:srgbClr val="F26B43"/>
          </p15:clr>
        </p15:guide>
        <p15:guide id="37" pos="7015">
          <p15:clr>
            <a:srgbClr val="F26B43"/>
          </p15:clr>
        </p15:guide>
        <p15:guide id="38" pos="7242">
          <p15:clr>
            <a:srgbClr val="F26B43"/>
          </p15:clr>
        </p15:guide>
        <p15:guide id="39" pos="7469">
          <p15:clr>
            <a:srgbClr val="F26B43"/>
          </p15:clr>
        </p15:guide>
        <p15:guide id="40" orient="horz" pos="1933">
          <p15:clr>
            <a:srgbClr val="F26B43"/>
          </p15:clr>
        </p15:guide>
        <p15:guide id="41" orient="horz" pos="1706">
          <p15:clr>
            <a:srgbClr val="F26B43"/>
          </p15:clr>
        </p15:guide>
        <p15:guide id="42" orient="horz" pos="1480">
          <p15:clr>
            <a:srgbClr val="F26B43"/>
          </p15:clr>
        </p15:guide>
        <p15:guide id="43" orient="horz" pos="1253">
          <p15:clr>
            <a:srgbClr val="F26B43"/>
          </p15:clr>
        </p15:guide>
        <p15:guide id="44" orient="horz" pos="1026">
          <p15:clr>
            <a:srgbClr val="F26B43"/>
          </p15:clr>
        </p15:guide>
        <p15:guide id="45" orient="horz" pos="799">
          <p15:clr>
            <a:srgbClr val="F26B43"/>
          </p15:clr>
        </p15:guide>
        <p15:guide id="46" orient="horz" pos="572">
          <p15:clr>
            <a:srgbClr val="F26B43"/>
          </p15:clr>
        </p15:guide>
        <p15:guide id="47" orient="horz" pos="346">
          <p15:clr>
            <a:srgbClr val="F26B43"/>
          </p15:clr>
        </p15:guide>
        <p15:guide id="48" orient="horz" pos="119">
          <p15:clr>
            <a:srgbClr val="F26B43"/>
          </p15:clr>
        </p15:guide>
        <p15:guide id="49" orient="horz" pos="2387">
          <p15:clr>
            <a:srgbClr val="F26B43"/>
          </p15:clr>
        </p15:guide>
        <p15:guide id="50" orient="horz" pos="2614">
          <p15:clr>
            <a:srgbClr val="F26B43"/>
          </p15:clr>
        </p15:guide>
        <p15:guide id="51" orient="horz" pos="2840">
          <p15:clr>
            <a:srgbClr val="F26B43"/>
          </p15:clr>
        </p15:guide>
        <p15:guide id="52" orient="horz" pos="3067">
          <p15:clr>
            <a:srgbClr val="F26B43"/>
          </p15:clr>
        </p15:guide>
        <p15:guide id="53" orient="horz" pos="3294">
          <p15:clr>
            <a:srgbClr val="F26B43"/>
          </p15:clr>
        </p15:guide>
        <p15:guide id="54" orient="horz" pos="3521">
          <p15:clr>
            <a:srgbClr val="F26B43"/>
          </p15:clr>
        </p15:guide>
        <p15:guide id="55" orient="horz" pos="3748">
          <p15:clr>
            <a:srgbClr val="F26B43"/>
          </p15:clr>
        </p15:guide>
        <p15:guide id="56" orient="horz" pos="3974">
          <p15:clr>
            <a:srgbClr val="F26B43"/>
          </p15:clr>
        </p15:guide>
        <p15:guide id="57" orient="horz" pos="4201">
          <p15:clr>
            <a:srgbClr val="F26B43"/>
          </p15:clr>
        </p15:guide>
        <p15:guide id="58" pos="325">
          <p15:clr>
            <a:srgbClr val="F26B43"/>
          </p15:clr>
        </p15:guide>
        <p15:guide id="59" pos="7355">
          <p15:clr>
            <a:srgbClr val="F26B43"/>
          </p15:clr>
        </p15:guide>
        <p15:guide id="60" orient="horz" pos="4110">
          <p15:clr>
            <a:srgbClr val="F26B43"/>
          </p15:clr>
        </p15:guide>
        <p15:guide id="61" orient="horz" pos="21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14" y="2542414"/>
            <a:ext cx="17339786" cy="218595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</a:t>
            </a:r>
            <a:r>
              <a:rPr lang="es-ES" err="1"/>
              <a:t>patrónz</a:t>
            </a:r>
            <a:endParaRPr lang="es-E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2858" y="5589891"/>
            <a:ext cx="17339786" cy="717567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547376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</p:sldLayoutIdLst>
  <p:hf hdr="0" ftr="0" dt="0"/>
  <p:txStyles>
    <p:titleStyle>
      <a:lvl1pPr algn="l" defTabSz="1507776" rtl="0" eaLnBrk="1" latinLnBrk="0" hangingPunct="1">
        <a:lnSpc>
          <a:spcPct val="90000"/>
        </a:lnSpc>
        <a:spcBef>
          <a:spcPct val="0"/>
        </a:spcBef>
        <a:buNone/>
        <a:defRPr sz="8905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507776" rtl="0" eaLnBrk="1" latinLnBrk="0" hangingPunct="1">
        <a:lnSpc>
          <a:spcPct val="90000"/>
        </a:lnSpc>
        <a:spcBef>
          <a:spcPts val="1649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753888" indent="0" algn="l" defTabSz="150777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507776" indent="0" algn="l" defTabSz="150777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2261663" indent="0" algn="l" defTabSz="150777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3015551" indent="0" algn="l" defTabSz="150777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4146382" indent="-376943" algn="l" defTabSz="150777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271" indent="-376943" algn="l" defTabSz="150777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159" indent="-376943" algn="l" defTabSz="150777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047" indent="-376943" algn="l" defTabSz="150777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50777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888" algn="l" defTabSz="150777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776" algn="l" defTabSz="150777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663" algn="l" defTabSz="150777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551" algn="l" defTabSz="150777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439" algn="l" defTabSz="150777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327" algn="l" defTabSz="150777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216" algn="l" defTabSz="150777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102" algn="l" defTabSz="150777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3613">
          <p15:clr>
            <a:srgbClr val="F26B43"/>
          </p15:clr>
        </p15:guide>
        <p15:guide id="9" pos="3386">
          <p15:clr>
            <a:srgbClr val="F26B43"/>
          </p15:clr>
        </p15:guide>
        <p15:guide id="10" pos="3160">
          <p15:clr>
            <a:srgbClr val="F26B43"/>
          </p15:clr>
        </p15:guide>
        <p15:guide id="11" pos="2933">
          <p15:clr>
            <a:srgbClr val="F26B43"/>
          </p15:clr>
        </p15:guide>
        <p15:guide id="12" pos="2706">
          <p15:clr>
            <a:srgbClr val="F26B43"/>
          </p15:clr>
        </p15:guide>
        <p15:guide id="13" pos="2479">
          <p15:clr>
            <a:srgbClr val="F26B43"/>
          </p15:clr>
        </p15:guide>
        <p15:guide id="14" pos="2252">
          <p15:clr>
            <a:srgbClr val="F26B43"/>
          </p15:clr>
        </p15:guide>
        <p15:guide id="15" pos="2026">
          <p15:clr>
            <a:srgbClr val="F26B43"/>
          </p15:clr>
        </p15:guide>
        <p15:guide id="16" pos="1572">
          <p15:clr>
            <a:srgbClr val="F26B43"/>
          </p15:clr>
        </p15:guide>
        <p15:guide id="17" pos="1345">
          <p15:clr>
            <a:srgbClr val="F26B43"/>
          </p15:clr>
        </p15:guide>
        <p15:guide id="18" pos="1799">
          <p15:clr>
            <a:srgbClr val="F26B43"/>
          </p15:clr>
        </p15:guide>
        <p15:guide id="19" pos="1118">
          <p15:clr>
            <a:srgbClr val="F26B43"/>
          </p15:clr>
        </p15:guide>
        <p15:guide id="20" pos="892">
          <p15:clr>
            <a:srgbClr val="F26B43"/>
          </p15:clr>
        </p15:guide>
        <p15:guide id="21" pos="665">
          <p15:clr>
            <a:srgbClr val="F26B43"/>
          </p15:clr>
        </p15:guide>
        <p15:guide id="22" pos="438">
          <p15:clr>
            <a:srgbClr val="F26B43"/>
          </p15:clr>
        </p15:guide>
        <p15:guide id="23" pos="211">
          <p15:clr>
            <a:srgbClr val="F26B43"/>
          </p15:clr>
        </p15:guide>
        <p15:guide id="24" pos="4067">
          <p15:clr>
            <a:srgbClr val="F26B43"/>
          </p15:clr>
        </p15:guide>
        <p15:guide id="25" pos="4294">
          <p15:clr>
            <a:srgbClr val="F26B43"/>
          </p15:clr>
        </p15:guide>
        <p15:guide id="26" pos="4520">
          <p15:clr>
            <a:srgbClr val="F26B43"/>
          </p15:clr>
        </p15:guide>
        <p15:guide id="27" pos="4747">
          <p15:clr>
            <a:srgbClr val="F26B43"/>
          </p15:clr>
        </p15:guide>
        <p15:guide id="28" pos="4974">
          <p15:clr>
            <a:srgbClr val="F26B43"/>
          </p15:clr>
        </p15:guide>
        <p15:guide id="29" pos="5201">
          <p15:clr>
            <a:srgbClr val="F26B43"/>
          </p15:clr>
        </p15:guide>
        <p15:guide id="30" pos="5428">
          <p15:clr>
            <a:srgbClr val="F26B43"/>
          </p15:clr>
        </p15:guide>
        <p15:guide id="31" pos="5654">
          <p15:clr>
            <a:srgbClr val="F26B43"/>
          </p15:clr>
        </p15:guide>
        <p15:guide id="32" pos="5881">
          <p15:clr>
            <a:srgbClr val="F26B43"/>
          </p15:clr>
        </p15:guide>
        <p15:guide id="33" pos="6108">
          <p15:clr>
            <a:srgbClr val="F26B43"/>
          </p15:clr>
        </p15:guide>
        <p15:guide id="34" pos="6335">
          <p15:clr>
            <a:srgbClr val="F26B43"/>
          </p15:clr>
        </p15:guide>
        <p15:guide id="35" pos="6562">
          <p15:clr>
            <a:srgbClr val="F26B43"/>
          </p15:clr>
        </p15:guide>
        <p15:guide id="36" pos="6788">
          <p15:clr>
            <a:srgbClr val="F26B43"/>
          </p15:clr>
        </p15:guide>
        <p15:guide id="37" pos="7015">
          <p15:clr>
            <a:srgbClr val="F26B43"/>
          </p15:clr>
        </p15:guide>
        <p15:guide id="38" pos="7242">
          <p15:clr>
            <a:srgbClr val="F26B43"/>
          </p15:clr>
        </p15:guide>
        <p15:guide id="39" pos="7469">
          <p15:clr>
            <a:srgbClr val="F26B43"/>
          </p15:clr>
        </p15:guide>
        <p15:guide id="40" orient="horz" pos="1933">
          <p15:clr>
            <a:srgbClr val="F26B43"/>
          </p15:clr>
        </p15:guide>
        <p15:guide id="41" orient="horz" pos="1706">
          <p15:clr>
            <a:srgbClr val="F26B43"/>
          </p15:clr>
        </p15:guide>
        <p15:guide id="42" orient="horz" pos="1480">
          <p15:clr>
            <a:srgbClr val="F26B43"/>
          </p15:clr>
        </p15:guide>
        <p15:guide id="43" orient="horz" pos="1253">
          <p15:clr>
            <a:srgbClr val="F26B43"/>
          </p15:clr>
        </p15:guide>
        <p15:guide id="44" orient="horz" pos="1026">
          <p15:clr>
            <a:srgbClr val="F26B43"/>
          </p15:clr>
        </p15:guide>
        <p15:guide id="45" orient="horz" pos="799">
          <p15:clr>
            <a:srgbClr val="F26B43"/>
          </p15:clr>
        </p15:guide>
        <p15:guide id="46" orient="horz" pos="572">
          <p15:clr>
            <a:srgbClr val="F26B43"/>
          </p15:clr>
        </p15:guide>
        <p15:guide id="47" orient="horz" pos="346">
          <p15:clr>
            <a:srgbClr val="F26B43"/>
          </p15:clr>
        </p15:guide>
        <p15:guide id="48" orient="horz" pos="119">
          <p15:clr>
            <a:srgbClr val="F26B43"/>
          </p15:clr>
        </p15:guide>
        <p15:guide id="49" orient="horz" pos="2387">
          <p15:clr>
            <a:srgbClr val="F26B43"/>
          </p15:clr>
        </p15:guide>
        <p15:guide id="50" orient="horz" pos="2614">
          <p15:clr>
            <a:srgbClr val="F26B43"/>
          </p15:clr>
        </p15:guide>
        <p15:guide id="51" orient="horz" pos="2840">
          <p15:clr>
            <a:srgbClr val="F26B43"/>
          </p15:clr>
        </p15:guide>
        <p15:guide id="52" orient="horz" pos="3067">
          <p15:clr>
            <a:srgbClr val="F26B43"/>
          </p15:clr>
        </p15:guide>
        <p15:guide id="53" orient="horz" pos="3294">
          <p15:clr>
            <a:srgbClr val="F26B43"/>
          </p15:clr>
        </p15:guide>
        <p15:guide id="54" orient="horz" pos="3521">
          <p15:clr>
            <a:srgbClr val="F26B43"/>
          </p15:clr>
        </p15:guide>
        <p15:guide id="55" orient="horz" pos="3748">
          <p15:clr>
            <a:srgbClr val="F26B43"/>
          </p15:clr>
        </p15:guide>
        <p15:guide id="56" orient="horz" pos="3974">
          <p15:clr>
            <a:srgbClr val="F26B43"/>
          </p15:clr>
        </p15:guide>
        <p15:guide id="57" orient="horz" pos="4201">
          <p15:clr>
            <a:srgbClr val="F26B43"/>
          </p15:clr>
        </p15:guide>
        <p15:guide id="58" pos="325">
          <p15:clr>
            <a:srgbClr val="F26B43"/>
          </p15:clr>
        </p15:guide>
        <p15:guide id="59" pos="7355">
          <p15:clr>
            <a:srgbClr val="F26B43"/>
          </p15:clr>
        </p15:guide>
        <p15:guide id="60" orient="horz" pos="4110">
          <p15:clr>
            <a:srgbClr val="F26B43"/>
          </p15:clr>
        </p15:guide>
        <p15:guide id="61" orient="horz" pos="21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93087C5-C1F5-2ED6-C09F-3EE0FEDE10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91647958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395" imgH="394" progId="TCLayout.ActiveDocument.1">
                  <p:embed/>
                </p:oleObj>
              </mc:Choice>
              <mc:Fallback>
                <p:oleObj name="Diapositiva de think-cell" r:id="rId9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3087C5-C1F5-2ED6-C09F-3EE0FEDE10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14" y="2542414"/>
            <a:ext cx="17339786" cy="218595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</a:t>
            </a:r>
            <a:r>
              <a:rPr lang="es-ES" err="1"/>
              <a:t>patrónz</a:t>
            </a:r>
            <a:endParaRPr lang="es-E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2858" y="5589891"/>
            <a:ext cx="17339786" cy="717567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611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</p:sldLayoutIdLst>
  <p:hf hdr="0" ftr="0" dt="0"/>
  <p:txStyles>
    <p:titleStyle>
      <a:lvl1pPr algn="l" defTabSz="1507776" rtl="0" eaLnBrk="1" latinLnBrk="0" hangingPunct="1">
        <a:lnSpc>
          <a:spcPct val="90000"/>
        </a:lnSpc>
        <a:spcBef>
          <a:spcPct val="0"/>
        </a:spcBef>
        <a:buNone/>
        <a:defRPr sz="8905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507776" rtl="0" eaLnBrk="1" latinLnBrk="0" hangingPunct="1">
        <a:lnSpc>
          <a:spcPct val="90000"/>
        </a:lnSpc>
        <a:spcBef>
          <a:spcPts val="1649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753888" indent="0" algn="l" defTabSz="150777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507776" indent="0" algn="l" defTabSz="150777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2261663" indent="0" algn="l" defTabSz="150777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3015551" indent="0" algn="l" defTabSz="150777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4146382" indent="-376943" algn="l" defTabSz="150777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271" indent="-376943" algn="l" defTabSz="150777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159" indent="-376943" algn="l" defTabSz="150777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047" indent="-376943" algn="l" defTabSz="150777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50777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888" algn="l" defTabSz="150777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776" algn="l" defTabSz="150777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663" algn="l" defTabSz="150777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551" algn="l" defTabSz="150777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439" algn="l" defTabSz="150777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327" algn="l" defTabSz="150777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216" algn="l" defTabSz="150777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102" algn="l" defTabSz="150777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3613">
          <p15:clr>
            <a:srgbClr val="F26B43"/>
          </p15:clr>
        </p15:guide>
        <p15:guide id="9" pos="3386">
          <p15:clr>
            <a:srgbClr val="F26B43"/>
          </p15:clr>
        </p15:guide>
        <p15:guide id="10" pos="3160">
          <p15:clr>
            <a:srgbClr val="F26B43"/>
          </p15:clr>
        </p15:guide>
        <p15:guide id="11" pos="2933">
          <p15:clr>
            <a:srgbClr val="F26B43"/>
          </p15:clr>
        </p15:guide>
        <p15:guide id="12" pos="2706">
          <p15:clr>
            <a:srgbClr val="F26B43"/>
          </p15:clr>
        </p15:guide>
        <p15:guide id="13" pos="2479">
          <p15:clr>
            <a:srgbClr val="F26B43"/>
          </p15:clr>
        </p15:guide>
        <p15:guide id="14" pos="2252">
          <p15:clr>
            <a:srgbClr val="F26B43"/>
          </p15:clr>
        </p15:guide>
        <p15:guide id="15" pos="2026">
          <p15:clr>
            <a:srgbClr val="F26B43"/>
          </p15:clr>
        </p15:guide>
        <p15:guide id="16" pos="1572">
          <p15:clr>
            <a:srgbClr val="F26B43"/>
          </p15:clr>
        </p15:guide>
        <p15:guide id="17" pos="1345">
          <p15:clr>
            <a:srgbClr val="F26B43"/>
          </p15:clr>
        </p15:guide>
        <p15:guide id="18" pos="1799">
          <p15:clr>
            <a:srgbClr val="F26B43"/>
          </p15:clr>
        </p15:guide>
        <p15:guide id="19" pos="1118">
          <p15:clr>
            <a:srgbClr val="F26B43"/>
          </p15:clr>
        </p15:guide>
        <p15:guide id="20" pos="892">
          <p15:clr>
            <a:srgbClr val="F26B43"/>
          </p15:clr>
        </p15:guide>
        <p15:guide id="21" pos="665">
          <p15:clr>
            <a:srgbClr val="F26B43"/>
          </p15:clr>
        </p15:guide>
        <p15:guide id="22" pos="438">
          <p15:clr>
            <a:srgbClr val="F26B43"/>
          </p15:clr>
        </p15:guide>
        <p15:guide id="23" pos="211">
          <p15:clr>
            <a:srgbClr val="F26B43"/>
          </p15:clr>
        </p15:guide>
        <p15:guide id="24" pos="4067">
          <p15:clr>
            <a:srgbClr val="F26B43"/>
          </p15:clr>
        </p15:guide>
        <p15:guide id="25" pos="4294">
          <p15:clr>
            <a:srgbClr val="F26B43"/>
          </p15:clr>
        </p15:guide>
        <p15:guide id="26" pos="4520">
          <p15:clr>
            <a:srgbClr val="F26B43"/>
          </p15:clr>
        </p15:guide>
        <p15:guide id="27" pos="4747">
          <p15:clr>
            <a:srgbClr val="F26B43"/>
          </p15:clr>
        </p15:guide>
        <p15:guide id="28" pos="4974">
          <p15:clr>
            <a:srgbClr val="F26B43"/>
          </p15:clr>
        </p15:guide>
        <p15:guide id="29" pos="5201">
          <p15:clr>
            <a:srgbClr val="F26B43"/>
          </p15:clr>
        </p15:guide>
        <p15:guide id="30" pos="5428">
          <p15:clr>
            <a:srgbClr val="F26B43"/>
          </p15:clr>
        </p15:guide>
        <p15:guide id="31" pos="5654">
          <p15:clr>
            <a:srgbClr val="F26B43"/>
          </p15:clr>
        </p15:guide>
        <p15:guide id="32" pos="5881">
          <p15:clr>
            <a:srgbClr val="F26B43"/>
          </p15:clr>
        </p15:guide>
        <p15:guide id="33" pos="6108">
          <p15:clr>
            <a:srgbClr val="F26B43"/>
          </p15:clr>
        </p15:guide>
        <p15:guide id="34" pos="6335">
          <p15:clr>
            <a:srgbClr val="F26B43"/>
          </p15:clr>
        </p15:guide>
        <p15:guide id="35" pos="6562">
          <p15:clr>
            <a:srgbClr val="F26B43"/>
          </p15:clr>
        </p15:guide>
        <p15:guide id="36" pos="6788">
          <p15:clr>
            <a:srgbClr val="F26B43"/>
          </p15:clr>
        </p15:guide>
        <p15:guide id="37" pos="7015">
          <p15:clr>
            <a:srgbClr val="F26B43"/>
          </p15:clr>
        </p15:guide>
        <p15:guide id="38" pos="7242">
          <p15:clr>
            <a:srgbClr val="F26B43"/>
          </p15:clr>
        </p15:guide>
        <p15:guide id="39" pos="7469">
          <p15:clr>
            <a:srgbClr val="F26B43"/>
          </p15:clr>
        </p15:guide>
        <p15:guide id="40" orient="horz" pos="1933">
          <p15:clr>
            <a:srgbClr val="F26B43"/>
          </p15:clr>
        </p15:guide>
        <p15:guide id="41" orient="horz" pos="1706">
          <p15:clr>
            <a:srgbClr val="F26B43"/>
          </p15:clr>
        </p15:guide>
        <p15:guide id="42" orient="horz" pos="1480">
          <p15:clr>
            <a:srgbClr val="F26B43"/>
          </p15:clr>
        </p15:guide>
        <p15:guide id="43" orient="horz" pos="1253">
          <p15:clr>
            <a:srgbClr val="F26B43"/>
          </p15:clr>
        </p15:guide>
        <p15:guide id="44" orient="horz" pos="1026">
          <p15:clr>
            <a:srgbClr val="F26B43"/>
          </p15:clr>
        </p15:guide>
        <p15:guide id="45" orient="horz" pos="799">
          <p15:clr>
            <a:srgbClr val="F26B43"/>
          </p15:clr>
        </p15:guide>
        <p15:guide id="46" orient="horz" pos="572">
          <p15:clr>
            <a:srgbClr val="F26B43"/>
          </p15:clr>
        </p15:guide>
        <p15:guide id="47" orient="horz" pos="346">
          <p15:clr>
            <a:srgbClr val="F26B43"/>
          </p15:clr>
        </p15:guide>
        <p15:guide id="48" orient="horz" pos="119">
          <p15:clr>
            <a:srgbClr val="F26B43"/>
          </p15:clr>
        </p15:guide>
        <p15:guide id="49" orient="horz" pos="2387">
          <p15:clr>
            <a:srgbClr val="F26B43"/>
          </p15:clr>
        </p15:guide>
        <p15:guide id="50" orient="horz" pos="2614">
          <p15:clr>
            <a:srgbClr val="F26B43"/>
          </p15:clr>
        </p15:guide>
        <p15:guide id="51" orient="horz" pos="2840">
          <p15:clr>
            <a:srgbClr val="F26B43"/>
          </p15:clr>
        </p15:guide>
        <p15:guide id="52" orient="horz" pos="3067">
          <p15:clr>
            <a:srgbClr val="F26B43"/>
          </p15:clr>
        </p15:guide>
        <p15:guide id="53" orient="horz" pos="3294">
          <p15:clr>
            <a:srgbClr val="F26B43"/>
          </p15:clr>
        </p15:guide>
        <p15:guide id="54" orient="horz" pos="3521">
          <p15:clr>
            <a:srgbClr val="F26B43"/>
          </p15:clr>
        </p15:guide>
        <p15:guide id="55" orient="horz" pos="3748">
          <p15:clr>
            <a:srgbClr val="F26B43"/>
          </p15:clr>
        </p15:guide>
        <p15:guide id="56" orient="horz" pos="3974">
          <p15:clr>
            <a:srgbClr val="F26B43"/>
          </p15:clr>
        </p15:guide>
        <p15:guide id="57" orient="horz" pos="4201">
          <p15:clr>
            <a:srgbClr val="F26B43"/>
          </p15:clr>
        </p15:guide>
        <p15:guide id="58" pos="325">
          <p15:clr>
            <a:srgbClr val="F26B43"/>
          </p15:clr>
        </p15:guide>
        <p15:guide id="59" pos="7355">
          <p15:clr>
            <a:srgbClr val="F26B43"/>
          </p15:clr>
        </p15:guide>
        <p15:guide id="60" orient="horz" pos="4110">
          <p15:clr>
            <a:srgbClr val="F26B43"/>
          </p15:clr>
        </p15:guide>
        <p15:guide id="61" orient="horz" pos="21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14" y="2542414"/>
            <a:ext cx="17339786" cy="218595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</a:t>
            </a:r>
            <a:r>
              <a:rPr lang="es-ES" err="1"/>
              <a:t>patrónz</a:t>
            </a:r>
            <a:endParaRPr lang="es-E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2858" y="5589891"/>
            <a:ext cx="17339786" cy="717567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610644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</p:sldLayoutIdLst>
  <p:hf hdr="0" ftr="0" dt="0"/>
  <p:txStyles>
    <p:titleStyle>
      <a:lvl1pPr algn="l" defTabSz="1507846" rtl="0" eaLnBrk="1" latinLnBrk="0" hangingPunct="1">
        <a:lnSpc>
          <a:spcPct val="90000"/>
        </a:lnSpc>
        <a:spcBef>
          <a:spcPct val="0"/>
        </a:spcBef>
        <a:buNone/>
        <a:defRPr sz="8905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507846" rtl="0" eaLnBrk="1" latinLnBrk="0" hangingPunct="1">
        <a:lnSpc>
          <a:spcPct val="90000"/>
        </a:lnSpc>
        <a:spcBef>
          <a:spcPts val="1649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753923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507846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2261768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3015691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4146575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498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21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34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3613">
          <p15:clr>
            <a:srgbClr val="F26B43"/>
          </p15:clr>
        </p15:guide>
        <p15:guide id="9" pos="3386">
          <p15:clr>
            <a:srgbClr val="F26B43"/>
          </p15:clr>
        </p15:guide>
        <p15:guide id="10" pos="3160">
          <p15:clr>
            <a:srgbClr val="F26B43"/>
          </p15:clr>
        </p15:guide>
        <p15:guide id="11" pos="2933">
          <p15:clr>
            <a:srgbClr val="F26B43"/>
          </p15:clr>
        </p15:guide>
        <p15:guide id="12" pos="2706">
          <p15:clr>
            <a:srgbClr val="F26B43"/>
          </p15:clr>
        </p15:guide>
        <p15:guide id="13" pos="2479">
          <p15:clr>
            <a:srgbClr val="F26B43"/>
          </p15:clr>
        </p15:guide>
        <p15:guide id="14" pos="2252">
          <p15:clr>
            <a:srgbClr val="F26B43"/>
          </p15:clr>
        </p15:guide>
        <p15:guide id="15" pos="2026">
          <p15:clr>
            <a:srgbClr val="F26B43"/>
          </p15:clr>
        </p15:guide>
        <p15:guide id="16" pos="1572">
          <p15:clr>
            <a:srgbClr val="F26B43"/>
          </p15:clr>
        </p15:guide>
        <p15:guide id="17" pos="1345">
          <p15:clr>
            <a:srgbClr val="F26B43"/>
          </p15:clr>
        </p15:guide>
        <p15:guide id="18" pos="1799">
          <p15:clr>
            <a:srgbClr val="F26B43"/>
          </p15:clr>
        </p15:guide>
        <p15:guide id="19" pos="1118">
          <p15:clr>
            <a:srgbClr val="F26B43"/>
          </p15:clr>
        </p15:guide>
        <p15:guide id="20" pos="892">
          <p15:clr>
            <a:srgbClr val="F26B43"/>
          </p15:clr>
        </p15:guide>
        <p15:guide id="21" pos="665">
          <p15:clr>
            <a:srgbClr val="F26B43"/>
          </p15:clr>
        </p15:guide>
        <p15:guide id="22" pos="438">
          <p15:clr>
            <a:srgbClr val="F26B43"/>
          </p15:clr>
        </p15:guide>
        <p15:guide id="23" pos="211">
          <p15:clr>
            <a:srgbClr val="F26B43"/>
          </p15:clr>
        </p15:guide>
        <p15:guide id="24" pos="4067">
          <p15:clr>
            <a:srgbClr val="F26B43"/>
          </p15:clr>
        </p15:guide>
        <p15:guide id="25" pos="4294">
          <p15:clr>
            <a:srgbClr val="F26B43"/>
          </p15:clr>
        </p15:guide>
        <p15:guide id="26" pos="4520">
          <p15:clr>
            <a:srgbClr val="F26B43"/>
          </p15:clr>
        </p15:guide>
        <p15:guide id="27" pos="4747">
          <p15:clr>
            <a:srgbClr val="F26B43"/>
          </p15:clr>
        </p15:guide>
        <p15:guide id="28" pos="4974">
          <p15:clr>
            <a:srgbClr val="F26B43"/>
          </p15:clr>
        </p15:guide>
        <p15:guide id="29" pos="5201">
          <p15:clr>
            <a:srgbClr val="F26B43"/>
          </p15:clr>
        </p15:guide>
        <p15:guide id="30" pos="5428">
          <p15:clr>
            <a:srgbClr val="F26B43"/>
          </p15:clr>
        </p15:guide>
        <p15:guide id="31" pos="5654">
          <p15:clr>
            <a:srgbClr val="F26B43"/>
          </p15:clr>
        </p15:guide>
        <p15:guide id="32" pos="5881">
          <p15:clr>
            <a:srgbClr val="F26B43"/>
          </p15:clr>
        </p15:guide>
        <p15:guide id="33" pos="6108">
          <p15:clr>
            <a:srgbClr val="F26B43"/>
          </p15:clr>
        </p15:guide>
        <p15:guide id="34" pos="6335">
          <p15:clr>
            <a:srgbClr val="F26B43"/>
          </p15:clr>
        </p15:guide>
        <p15:guide id="35" pos="6562">
          <p15:clr>
            <a:srgbClr val="F26B43"/>
          </p15:clr>
        </p15:guide>
        <p15:guide id="36" pos="6788">
          <p15:clr>
            <a:srgbClr val="F26B43"/>
          </p15:clr>
        </p15:guide>
        <p15:guide id="37" pos="7015">
          <p15:clr>
            <a:srgbClr val="F26B43"/>
          </p15:clr>
        </p15:guide>
        <p15:guide id="38" pos="7242">
          <p15:clr>
            <a:srgbClr val="F26B43"/>
          </p15:clr>
        </p15:guide>
        <p15:guide id="39" pos="7469">
          <p15:clr>
            <a:srgbClr val="F26B43"/>
          </p15:clr>
        </p15:guide>
        <p15:guide id="40" orient="horz" pos="1933">
          <p15:clr>
            <a:srgbClr val="F26B43"/>
          </p15:clr>
        </p15:guide>
        <p15:guide id="41" orient="horz" pos="1706">
          <p15:clr>
            <a:srgbClr val="F26B43"/>
          </p15:clr>
        </p15:guide>
        <p15:guide id="42" orient="horz" pos="1480">
          <p15:clr>
            <a:srgbClr val="F26B43"/>
          </p15:clr>
        </p15:guide>
        <p15:guide id="43" orient="horz" pos="1253">
          <p15:clr>
            <a:srgbClr val="F26B43"/>
          </p15:clr>
        </p15:guide>
        <p15:guide id="44" orient="horz" pos="1026">
          <p15:clr>
            <a:srgbClr val="F26B43"/>
          </p15:clr>
        </p15:guide>
        <p15:guide id="45" orient="horz" pos="799">
          <p15:clr>
            <a:srgbClr val="F26B43"/>
          </p15:clr>
        </p15:guide>
        <p15:guide id="46" orient="horz" pos="572">
          <p15:clr>
            <a:srgbClr val="F26B43"/>
          </p15:clr>
        </p15:guide>
        <p15:guide id="47" orient="horz" pos="346">
          <p15:clr>
            <a:srgbClr val="F26B43"/>
          </p15:clr>
        </p15:guide>
        <p15:guide id="48" orient="horz" pos="119">
          <p15:clr>
            <a:srgbClr val="F26B43"/>
          </p15:clr>
        </p15:guide>
        <p15:guide id="49" orient="horz" pos="2387">
          <p15:clr>
            <a:srgbClr val="F26B43"/>
          </p15:clr>
        </p15:guide>
        <p15:guide id="50" orient="horz" pos="2614">
          <p15:clr>
            <a:srgbClr val="F26B43"/>
          </p15:clr>
        </p15:guide>
        <p15:guide id="51" orient="horz" pos="2840">
          <p15:clr>
            <a:srgbClr val="F26B43"/>
          </p15:clr>
        </p15:guide>
        <p15:guide id="52" orient="horz" pos="3067">
          <p15:clr>
            <a:srgbClr val="F26B43"/>
          </p15:clr>
        </p15:guide>
        <p15:guide id="53" orient="horz" pos="3294">
          <p15:clr>
            <a:srgbClr val="F26B43"/>
          </p15:clr>
        </p15:guide>
        <p15:guide id="54" orient="horz" pos="3521">
          <p15:clr>
            <a:srgbClr val="F26B43"/>
          </p15:clr>
        </p15:guide>
        <p15:guide id="55" orient="horz" pos="3748">
          <p15:clr>
            <a:srgbClr val="F26B43"/>
          </p15:clr>
        </p15:guide>
        <p15:guide id="56" orient="horz" pos="3974">
          <p15:clr>
            <a:srgbClr val="F26B43"/>
          </p15:clr>
        </p15:guide>
        <p15:guide id="57" orient="horz" pos="4201">
          <p15:clr>
            <a:srgbClr val="F26B43"/>
          </p15:clr>
        </p15:guide>
        <p15:guide id="58" pos="325">
          <p15:clr>
            <a:srgbClr val="F26B43"/>
          </p15:clr>
        </p15:guide>
        <p15:guide id="59" pos="7355">
          <p15:clr>
            <a:srgbClr val="F26B43"/>
          </p15:clr>
        </p15:guide>
        <p15:guide id="60" orient="horz" pos="4110">
          <p15:clr>
            <a:srgbClr val="F26B43"/>
          </p15:clr>
        </p15:guide>
        <p15:guide id="61" orient="horz" pos="21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14" y="2542414"/>
            <a:ext cx="17339786" cy="218595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</a:t>
            </a:r>
            <a:r>
              <a:rPr lang="es-ES" err="1"/>
              <a:t>patrónz</a:t>
            </a:r>
            <a:endParaRPr lang="es-E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2858" y="5589891"/>
            <a:ext cx="17339786" cy="717567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870997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</p:sldLayoutIdLst>
  <p:hf hdr="0" ftr="0" dt="0"/>
  <p:txStyles>
    <p:titleStyle>
      <a:lvl1pPr algn="l" defTabSz="1507846" rtl="0" eaLnBrk="1" latinLnBrk="0" hangingPunct="1">
        <a:lnSpc>
          <a:spcPct val="90000"/>
        </a:lnSpc>
        <a:spcBef>
          <a:spcPct val="0"/>
        </a:spcBef>
        <a:buNone/>
        <a:defRPr sz="8905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507846" rtl="0" eaLnBrk="1" latinLnBrk="0" hangingPunct="1">
        <a:lnSpc>
          <a:spcPct val="90000"/>
        </a:lnSpc>
        <a:spcBef>
          <a:spcPts val="1649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753923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507846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2261768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3015691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4146575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498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21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34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3613">
          <p15:clr>
            <a:srgbClr val="F26B43"/>
          </p15:clr>
        </p15:guide>
        <p15:guide id="9" pos="3386">
          <p15:clr>
            <a:srgbClr val="F26B43"/>
          </p15:clr>
        </p15:guide>
        <p15:guide id="10" pos="3160">
          <p15:clr>
            <a:srgbClr val="F26B43"/>
          </p15:clr>
        </p15:guide>
        <p15:guide id="11" pos="2933">
          <p15:clr>
            <a:srgbClr val="F26B43"/>
          </p15:clr>
        </p15:guide>
        <p15:guide id="12" pos="2706">
          <p15:clr>
            <a:srgbClr val="F26B43"/>
          </p15:clr>
        </p15:guide>
        <p15:guide id="13" pos="2479">
          <p15:clr>
            <a:srgbClr val="F26B43"/>
          </p15:clr>
        </p15:guide>
        <p15:guide id="14" pos="2252">
          <p15:clr>
            <a:srgbClr val="F26B43"/>
          </p15:clr>
        </p15:guide>
        <p15:guide id="15" pos="2026">
          <p15:clr>
            <a:srgbClr val="F26B43"/>
          </p15:clr>
        </p15:guide>
        <p15:guide id="16" pos="1572">
          <p15:clr>
            <a:srgbClr val="F26B43"/>
          </p15:clr>
        </p15:guide>
        <p15:guide id="17" pos="1345">
          <p15:clr>
            <a:srgbClr val="F26B43"/>
          </p15:clr>
        </p15:guide>
        <p15:guide id="18" pos="1799">
          <p15:clr>
            <a:srgbClr val="F26B43"/>
          </p15:clr>
        </p15:guide>
        <p15:guide id="19" pos="1118">
          <p15:clr>
            <a:srgbClr val="F26B43"/>
          </p15:clr>
        </p15:guide>
        <p15:guide id="20" pos="892">
          <p15:clr>
            <a:srgbClr val="F26B43"/>
          </p15:clr>
        </p15:guide>
        <p15:guide id="21" pos="665">
          <p15:clr>
            <a:srgbClr val="F26B43"/>
          </p15:clr>
        </p15:guide>
        <p15:guide id="22" pos="438">
          <p15:clr>
            <a:srgbClr val="F26B43"/>
          </p15:clr>
        </p15:guide>
        <p15:guide id="23" pos="211">
          <p15:clr>
            <a:srgbClr val="F26B43"/>
          </p15:clr>
        </p15:guide>
        <p15:guide id="24" pos="4067">
          <p15:clr>
            <a:srgbClr val="F26B43"/>
          </p15:clr>
        </p15:guide>
        <p15:guide id="25" pos="4294">
          <p15:clr>
            <a:srgbClr val="F26B43"/>
          </p15:clr>
        </p15:guide>
        <p15:guide id="26" pos="4520">
          <p15:clr>
            <a:srgbClr val="F26B43"/>
          </p15:clr>
        </p15:guide>
        <p15:guide id="27" pos="4747">
          <p15:clr>
            <a:srgbClr val="F26B43"/>
          </p15:clr>
        </p15:guide>
        <p15:guide id="28" pos="4974">
          <p15:clr>
            <a:srgbClr val="F26B43"/>
          </p15:clr>
        </p15:guide>
        <p15:guide id="29" pos="5201">
          <p15:clr>
            <a:srgbClr val="F26B43"/>
          </p15:clr>
        </p15:guide>
        <p15:guide id="30" pos="5428">
          <p15:clr>
            <a:srgbClr val="F26B43"/>
          </p15:clr>
        </p15:guide>
        <p15:guide id="31" pos="5654">
          <p15:clr>
            <a:srgbClr val="F26B43"/>
          </p15:clr>
        </p15:guide>
        <p15:guide id="32" pos="5881">
          <p15:clr>
            <a:srgbClr val="F26B43"/>
          </p15:clr>
        </p15:guide>
        <p15:guide id="33" pos="6108">
          <p15:clr>
            <a:srgbClr val="F26B43"/>
          </p15:clr>
        </p15:guide>
        <p15:guide id="34" pos="6335">
          <p15:clr>
            <a:srgbClr val="F26B43"/>
          </p15:clr>
        </p15:guide>
        <p15:guide id="35" pos="6562">
          <p15:clr>
            <a:srgbClr val="F26B43"/>
          </p15:clr>
        </p15:guide>
        <p15:guide id="36" pos="6788">
          <p15:clr>
            <a:srgbClr val="F26B43"/>
          </p15:clr>
        </p15:guide>
        <p15:guide id="37" pos="7015">
          <p15:clr>
            <a:srgbClr val="F26B43"/>
          </p15:clr>
        </p15:guide>
        <p15:guide id="38" pos="7242">
          <p15:clr>
            <a:srgbClr val="F26B43"/>
          </p15:clr>
        </p15:guide>
        <p15:guide id="39" pos="7469">
          <p15:clr>
            <a:srgbClr val="F26B43"/>
          </p15:clr>
        </p15:guide>
        <p15:guide id="40" orient="horz" pos="1933">
          <p15:clr>
            <a:srgbClr val="F26B43"/>
          </p15:clr>
        </p15:guide>
        <p15:guide id="41" orient="horz" pos="1706">
          <p15:clr>
            <a:srgbClr val="F26B43"/>
          </p15:clr>
        </p15:guide>
        <p15:guide id="42" orient="horz" pos="1480">
          <p15:clr>
            <a:srgbClr val="F26B43"/>
          </p15:clr>
        </p15:guide>
        <p15:guide id="43" orient="horz" pos="1253">
          <p15:clr>
            <a:srgbClr val="F26B43"/>
          </p15:clr>
        </p15:guide>
        <p15:guide id="44" orient="horz" pos="1026">
          <p15:clr>
            <a:srgbClr val="F26B43"/>
          </p15:clr>
        </p15:guide>
        <p15:guide id="45" orient="horz" pos="799">
          <p15:clr>
            <a:srgbClr val="F26B43"/>
          </p15:clr>
        </p15:guide>
        <p15:guide id="46" orient="horz" pos="572">
          <p15:clr>
            <a:srgbClr val="F26B43"/>
          </p15:clr>
        </p15:guide>
        <p15:guide id="47" orient="horz" pos="346">
          <p15:clr>
            <a:srgbClr val="F26B43"/>
          </p15:clr>
        </p15:guide>
        <p15:guide id="48" orient="horz" pos="119">
          <p15:clr>
            <a:srgbClr val="F26B43"/>
          </p15:clr>
        </p15:guide>
        <p15:guide id="49" orient="horz" pos="2387">
          <p15:clr>
            <a:srgbClr val="F26B43"/>
          </p15:clr>
        </p15:guide>
        <p15:guide id="50" orient="horz" pos="2614">
          <p15:clr>
            <a:srgbClr val="F26B43"/>
          </p15:clr>
        </p15:guide>
        <p15:guide id="51" orient="horz" pos="2840">
          <p15:clr>
            <a:srgbClr val="F26B43"/>
          </p15:clr>
        </p15:guide>
        <p15:guide id="52" orient="horz" pos="3067">
          <p15:clr>
            <a:srgbClr val="F26B43"/>
          </p15:clr>
        </p15:guide>
        <p15:guide id="53" orient="horz" pos="3294">
          <p15:clr>
            <a:srgbClr val="F26B43"/>
          </p15:clr>
        </p15:guide>
        <p15:guide id="54" orient="horz" pos="3521">
          <p15:clr>
            <a:srgbClr val="F26B43"/>
          </p15:clr>
        </p15:guide>
        <p15:guide id="55" orient="horz" pos="3748">
          <p15:clr>
            <a:srgbClr val="F26B43"/>
          </p15:clr>
        </p15:guide>
        <p15:guide id="56" orient="horz" pos="3974">
          <p15:clr>
            <a:srgbClr val="F26B43"/>
          </p15:clr>
        </p15:guide>
        <p15:guide id="57" orient="horz" pos="4201">
          <p15:clr>
            <a:srgbClr val="F26B43"/>
          </p15:clr>
        </p15:guide>
        <p15:guide id="58" pos="325">
          <p15:clr>
            <a:srgbClr val="F26B43"/>
          </p15:clr>
        </p15:guide>
        <p15:guide id="59" pos="7355">
          <p15:clr>
            <a:srgbClr val="F26B43"/>
          </p15:clr>
        </p15:guide>
        <p15:guide id="60" orient="horz" pos="4110">
          <p15:clr>
            <a:srgbClr val="F26B43"/>
          </p15:clr>
        </p15:guide>
        <p15:guide id="61" orient="horz" pos="21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460" y="1030553"/>
            <a:ext cx="4575696" cy="218595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5617" y="5589892"/>
            <a:ext cx="17339786" cy="3595930"/>
          </a:xfrm>
          <a:prstGeom prst="rect">
            <a:avLst/>
          </a:prstGeom>
        </p:spPr>
        <p:txBody>
          <a:bodyPr vert="horz" lIns="91440" tIns="45720" rIns="91440" bIns="45720" numCol="1" rtlCol="0" anchor="t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número de diapositiva 5">
            <a:extLst>
              <a:ext uri="{FF2B5EF4-FFF2-40B4-BE49-F238E27FC236}">
                <a16:creationId xmlns:a16="http://schemas.microsoft.com/office/drawing/2014/main" id="{698C4985-D042-A04D-9E87-4E855F3365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968157" y="10483501"/>
            <a:ext cx="4523423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49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E7EBEDA2-51E6-554C-A63C-E820F6D0080D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52395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</p:sldLayoutIdLst>
  <p:hf hdr="0" ftr="0" dt="0"/>
  <p:txStyles>
    <p:titleStyle>
      <a:lvl1pPr algn="l" defTabSz="1507846" rtl="0" eaLnBrk="1" latinLnBrk="0" hangingPunct="1">
        <a:lnSpc>
          <a:spcPct val="90000"/>
        </a:lnSpc>
        <a:spcBef>
          <a:spcPct val="0"/>
        </a:spcBef>
        <a:buNone/>
        <a:defRPr sz="3958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507846" rtl="0" eaLnBrk="1" latinLnBrk="0" hangingPunct="1">
        <a:lnSpc>
          <a:spcPct val="90000"/>
        </a:lnSpc>
        <a:spcBef>
          <a:spcPts val="1649"/>
        </a:spcBef>
        <a:buFontTx/>
        <a:buNone/>
        <a:defRPr sz="2803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753923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280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507846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2803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2261768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2803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3015691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2803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4146575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498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21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34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3613">
          <p15:clr>
            <a:srgbClr val="F26B43"/>
          </p15:clr>
        </p15:guide>
        <p15:guide id="9" pos="3386">
          <p15:clr>
            <a:srgbClr val="F26B43"/>
          </p15:clr>
        </p15:guide>
        <p15:guide id="10" pos="3160">
          <p15:clr>
            <a:srgbClr val="F26B43"/>
          </p15:clr>
        </p15:guide>
        <p15:guide id="11" pos="2933">
          <p15:clr>
            <a:srgbClr val="F26B43"/>
          </p15:clr>
        </p15:guide>
        <p15:guide id="12" pos="2706">
          <p15:clr>
            <a:srgbClr val="F26B43"/>
          </p15:clr>
        </p15:guide>
        <p15:guide id="13" pos="2479">
          <p15:clr>
            <a:srgbClr val="F26B43"/>
          </p15:clr>
        </p15:guide>
        <p15:guide id="14" pos="2252">
          <p15:clr>
            <a:srgbClr val="F26B43"/>
          </p15:clr>
        </p15:guide>
        <p15:guide id="15" pos="2026">
          <p15:clr>
            <a:srgbClr val="F26B43"/>
          </p15:clr>
        </p15:guide>
        <p15:guide id="16" pos="1572">
          <p15:clr>
            <a:srgbClr val="F26B43"/>
          </p15:clr>
        </p15:guide>
        <p15:guide id="17" pos="1345">
          <p15:clr>
            <a:srgbClr val="F26B43"/>
          </p15:clr>
        </p15:guide>
        <p15:guide id="18" pos="1799">
          <p15:clr>
            <a:srgbClr val="F26B43"/>
          </p15:clr>
        </p15:guide>
        <p15:guide id="19" pos="1118">
          <p15:clr>
            <a:srgbClr val="F26B43"/>
          </p15:clr>
        </p15:guide>
        <p15:guide id="20" pos="892">
          <p15:clr>
            <a:srgbClr val="F26B43"/>
          </p15:clr>
        </p15:guide>
        <p15:guide id="21" pos="665">
          <p15:clr>
            <a:srgbClr val="F26B43"/>
          </p15:clr>
        </p15:guide>
        <p15:guide id="22" pos="438">
          <p15:clr>
            <a:srgbClr val="F26B43"/>
          </p15:clr>
        </p15:guide>
        <p15:guide id="23" pos="211">
          <p15:clr>
            <a:srgbClr val="F26B43"/>
          </p15:clr>
        </p15:guide>
        <p15:guide id="24" pos="4067">
          <p15:clr>
            <a:srgbClr val="F26B43"/>
          </p15:clr>
        </p15:guide>
        <p15:guide id="25" pos="4294">
          <p15:clr>
            <a:srgbClr val="F26B43"/>
          </p15:clr>
        </p15:guide>
        <p15:guide id="26" pos="4520">
          <p15:clr>
            <a:srgbClr val="F26B43"/>
          </p15:clr>
        </p15:guide>
        <p15:guide id="27" pos="4747">
          <p15:clr>
            <a:srgbClr val="F26B43"/>
          </p15:clr>
        </p15:guide>
        <p15:guide id="28" pos="4974">
          <p15:clr>
            <a:srgbClr val="F26B43"/>
          </p15:clr>
        </p15:guide>
        <p15:guide id="29" pos="5201">
          <p15:clr>
            <a:srgbClr val="F26B43"/>
          </p15:clr>
        </p15:guide>
        <p15:guide id="30" pos="5428">
          <p15:clr>
            <a:srgbClr val="F26B43"/>
          </p15:clr>
        </p15:guide>
        <p15:guide id="31" pos="5654">
          <p15:clr>
            <a:srgbClr val="F26B43"/>
          </p15:clr>
        </p15:guide>
        <p15:guide id="32" pos="5881">
          <p15:clr>
            <a:srgbClr val="F26B43"/>
          </p15:clr>
        </p15:guide>
        <p15:guide id="33" pos="6108">
          <p15:clr>
            <a:srgbClr val="F26B43"/>
          </p15:clr>
        </p15:guide>
        <p15:guide id="34" pos="6335">
          <p15:clr>
            <a:srgbClr val="F26B43"/>
          </p15:clr>
        </p15:guide>
        <p15:guide id="35" pos="6562">
          <p15:clr>
            <a:srgbClr val="F26B43"/>
          </p15:clr>
        </p15:guide>
        <p15:guide id="36" pos="6788">
          <p15:clr>
            <a:srgbClr val="F26B43"/>
          </p15:clr>
        </p15:guide>
        <p15:guide id="37" pos="7015">
          <p15:clr>
            <a:srgbClr val="F26B43"/>
          </p15:clr>
        </p15:guide>
        <p15:guide id="38" pos="7242">
          <p15:clr>
            <a:srgbClr val="F26B43"/>
          </p15:clr>
        </p15:guide>
        <p15:guide id="39" pos="7469">
          <p15:clr>
            <a:srgbClr val="F26B43"/>
          </p15:clr>
        </p15:guide>
        <p15:guide id="40" orient="horz" pos="1933">
          <p15:clr>
            <a:srgbClr val="F26B43"/>
          </p15:clr>
        </p15:guide>
        <p15:guide id="41" orient="horz" pos="1706">
          <p15:clr>
            <a:srgbClr val="F26B43"/>
          </p15:clr>
        </p15:guide>
        <p15:guide id="42" orient="horz" pos="1480">
          <p15:clr>
            <a:srgbClr val="F26B43"/>
          </p15:clr>
        </p15:guide>
        <p15:guide id="43" orient="horz" pos="1253">
          <p15:clr>
            <a:srgbClr val="F26B43"/>
          </p15:clr>
        </p15:guide>
        <p15:guide id="44" orient="horz" pos="1026">
          <p15:clr>
            <a:srgbClr val="F26B43"/>
          </p15:clr>
        </p15:guide>
        <p15:guide id="45" orient="horz" pos="799">
          <p15:clr>
            <a:srgbClr val="F26B43"/>
          </p15:clr>
        </p15:guide>
        <p15:guide id="46" orient="horz" pos="572">
          <p15:clr>
            <a:srgbClr val="F26B43"/>
          </p15:clr>
        </p15:guide>
        <p15:guide id="47" orient="horz" pos="346">
          <p15:clr>
            <a:srgbClr val="F26B43"/>
          </p15:clr>
        </p15:guide>
        <p15:guide id="48" orient="horz" pos="119">
          <p15:clr>
            <a:srgbClr val="F26B43"/>
          </p15:clr>
        </p15:guide>
        <p15:guide id="49" orient="horz" pos="2387">
          <p15:clr>
            <a:srgbClr val="F26B43"/>
          </p15:clr>
        </p15:guide>
        <p15:guide id="50" orient="horz" pos="2614">
          <p15:clr>
            <a:srgbClr val="F26B43"/>
          </p15:clr>
        </p15:guide>
        <p15:guide id="51" orient="horz" pos="2840">
          <p15:clr>
            <a:srgbClr val="F26B43"/>
          </p15:clr>
        </p15:guide>
        <p15:guide id="52" orient="horz" pos="3067">
          <p15:clr>
            <a:srgbClr val="F26B43"/>
          </p15:clr>
        </p15:guide>
        <p15:guide id="53" orient="horz" pos="3294">
          <p15:clr>
            <a:srgbClr val="F26B43"/>
          </p15:clr>
        </p15:guide>
        <p15:guide id="54" orient="horz" pos="3521">
          <p15:clr>
            <a:srgbClr val="F26B43"/>
          </p15:clr>
        </p15:guide>
        <p15:guide id="55" orient="horz" pos="3748">
          <p15:clr>
            <a:srgbClr val="F26B43"/>
          </p15:clr>
        </p15:guide>
        <p15:guide id="56" orient="horz" pos="3974">
          <p15:clr>
            <a:srgbClr val="F26B43"/>
          </p15:clr>
        </p15:guide>
        <p15:guide id="57" orient="horz" pos="4201">
          <p15:clr>
            <a:srgbClr val="F26B43"/>
          </p15:clr>
        </p15:guide>
        <p15:guide id="58" pos="325">
          <p15:clr>
            <a:srgbClr val="F26B43"/>
          </p15:clr>
        </p15:guide>
        <p15:guide id="59" pos="7355">
          <p15:clr>
            <a:srgbClr val="F26B43"/>
          </p15:clr>
        </p15:guide>
        <p15:guide id="60" pos="3795">
          <p15:clr>
            <a:srgbClr val="F26B43"/>
          </p15:clr>
        </p15:guide>
        <p15:guide id="61" pos="3885">
          <p15:clr>
            <a:srgbClr val="F26B43"/>
          </p15:clr>
        </p15:guide>
        <p15:guide id="62" orient="horz" pos="408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007369E-DBC3-42C6-AB44-97B2360EA6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224944708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8" imgW="421" imgH="423" progId="TCLayout.ActiveDocument.1">
                  <p:embed/>
                </p:oleObj>
              </mc:Choice>
              <mc:Fallback>
                <p:oleObj name="Diapositiva de think-cell" r:id="rId18" imgW="421" imgH="42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07369E-DBC3-42C6-AB44-97B2360EA6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0587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</p:sldLayoutIdLst>
  <p:hf hdr="0" ftr="0" dt="0"/>
  <p:txStyles>
    <p:titleStyle>
      <a:lvl1pPr algn="l" defTabSz="1507846" rtl="0" eaLnBrk="1" latinLnBrk="0" hangingPunct="1">
        <a:lnSpc>
          <a:spcPct val="90000"/>
        </a:lnSpc>
        <a:spcBef>
          <a:spcPct val="0"/>
        </a:spcBef>
        <a:buNone/>
        <a:defRPr sz="8905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507846" rtl="0" eaLnBrk="1" latinLnBrk="0" hangingPunct="1">
        <a:lnSpc>
          <a:spcPct val="90000"/>
        </a:lnSpc>
        <a:spcBef>
          <a:spcPts val="1649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753923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507846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2261768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3015691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4146575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498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21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34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3613">
          <p15:clr>
            <a:srgbClr val="F26B43"/>
          </p15:clr>
        </p15:guide>
        <p15:guide id="9" pos="3386">
          <p15:clr>
            <a:srgbClr val="F26B43"/>
          </p15:clr>
        </p15:guide>
        <p15:guide id="10" pos="3160">
          <p15:clr>
            <a:srgbClr val="F26B43"/>
          </p15:clr>
        </p15:guide>
        <p15:guide id="11" pos="2933">
          <p15:clr>
            <a:srgbClr val="F26B43"/>
          </p15:clr>
        </p15:guide>
        <p15:guide id="12" pos="2706">
          <p15:clr>
            <a:srgbClr val="F26B43"/>
          </p15:clr>
        </p15:guide>
        <p15:guide id="13" pos="2479">
          <p15:clr>
            <a:srgbClr val="F26B43"/>
          </p15:clr>
        </p15:guide>
        <p15:guide id="14" pos="2252">
          <p15:clr>
            <a:srgbClr val="F26B43"/>
          </p15:clr>
        </p15:guide>
        <p15:guide id="15" pos="2026">
          <p15:clr>
            <a:srgbClr val="F26B43"/>
          </p15:clr>
        </p15:guide>
        <p15:guide id="16" pos="1572">
          <p15:clr>
            <a:srgbClr val="F26B43"/>
          </p15:clr>
        </p15:guide>
        <p15:guide id="17" pos="1345">
          <p15:clr>
            <a:srgbClr val="F26B43"/>
          </p15:clr>
        </p15:guide>
        <p15:guide id="18" pos="1799">
          <p15:clr>
            <a:srgbClr val="F26B43"/>
          </p15:clr>
        </p15:guide>
        <p15:guide id="19" pos="1118">
          <p15:clr>
            <a:srgbClr val="F26B43"/>
          </p15:clr>
        </p15:guide>
        <p15:guide id="20" pos="892">
          <p15:clr>
            <a:srgbClr val="F26B43"/>
          </p15:clr>
        </p15:guide>
        <p15:guide id="21" pos="665">
          <p15:clr>
            <a:srgbClr val="F26B43"/>
          </p15:clr>
        </p15:guide>
        <p15:guide id="22" pos="438">
          <p15:clr>
            <a:srgbClr val="F26B43"/>
          </p15:clr>
        </p15:guide>
        <p15:guide id="23" pos="211">
          <p15:clr>
            <a:srgbClr val="F26B43"/>
          </p15:clr>
        </p15:guide>
        <p15:guide id="24" pos="4067">
          <p15:clr>
            <a:srgbClr val="F26B43"/>
          </p15:clr>
        </p15:guide>
        <p15:guide id="25" pos="4294">
          <p15:clr>
            <a:srgbClr val="F26B43"/>
          </p15:clr>
        </p15:guide>
        <p15:guide id="26" pos="4520">
          <p15:clr>
            <a:srgbClr val="F26B43"/>
          </p15:clr>
        </p15:guide>
        <p15:guide id="27" pos="4747">
          <p15:clr>
            <a:srgbClr val="F26B43"/>
          </p15:clr>
        </p15:guide>
        <p15:guide id="28" pos="4974">
          <p15:clr>
            <a:srgbClr val="F26B43"/>
          </p15:clr>
        </p15:guide>
        <p15:guide id="29" pos="5201">
          <p15:clr>
            <a:srgbClr val="F26B43"/>
          </p15:clr>
        </p15:guide>
        <p15:guide id="30" pos="5428">
          <p15:clr>
            <a:srgbClr val="F26B43"/>
          </p15:clr>
        </p15:guide>
        <p15:guide id="31" pos="5654">
          <p15:clr>
            <a:srgbClr val="F26B43"/>
          </p15:clr>
        </p15:guide>
        <p15:guide id="32" pos="5881">
          <p15:clr>
            <a:srgbClr val="F26B43"/>
          </p15:clr>
        </p15:guide>
        <p15:guide id="33" pos="6108">
          <p15:clr>
            <a:srgbClr val="F26B43"/>
          </p15:clr>
        </p15:guide>
        <p15:guide id="34" pos="6335">
          <p15:clr>
            <a:srgbClr val="F26B43"/>
          </p15:clr>
        </p15:guide>
        <p15:guide id="35" pos="6562">
          <p15:clr>
            <a:srgbClr val="F26B43"/>
          </p15:clr>
        </p15:guide>
        <p15:guide id="36" pos="6788">
          <p15:clr>
            <a:srgbClr val="F26B43"/>
          </p15:clr>
        </p15:guide>
        <p15:guide id="37" pos="7015">
          <p15:clr>
            <a:srgbClr val="F26B43"/>
          </p15:clr>
        </p15:guide>
        <p15:guide id="38" pos="7242">
          <p15:clr>
            <a:srgbClr val="F26B43"/>
          </p15:clr>
        </p15:guide>
        <p15:guide id="39" pos="7469">
          <p15:clr>
            <a:srgbClr val="F26B43"/>
          </p15:clr>
        </p15:guide>
        <p15:guide id="40" orient="horz" pos="1933">
          <p15:clr>
            <a:srgbClr val="F26B43"/>
          </p15:clr>
        </p15:guide>
        <p15:guide id="41" orient="horz" pos="1706">
          <p15:clr>
            <a:srgbClr val="F26B43"/>
          </p15:clr>
        </p15:guide>
        <p15:guide id="42" orient="horz" pos="1480">
          <p15:clr>
            <a:srgbClr val="F26B43"/>
          </p15:clr>
        </p15:guide>
        <p15:guide id="43" orient="horz" pos="1253">
          <p15:clr>
            <a:srgbClr val="F26B43"/>
          </p15:clr>
        </p15:guide>
        <p15:guide id="44" orient="horz" pos="1026">
          <p15:clr>
            <a:srgbClr val="F26B43"/>
          </p15:clr>
        </p15:guide>
        <p15:guide id="45" orient="horz" pos="799">
          <p15:clr>
            <a:srgbClr val="F26B43"/>
          </p15:clr>
        </p15:guide>
        <p15:guide id="46" orient="horz" pos="572">
          <p15:clr>
            <a:srgbClr val="F26B43"/>
          </p15:clr>
        </p15:guide>
        <p15:guide id="47" orient="horz" pos="346">
          <p15:clr>
            <a:srgbClr val="F26B43"/>
          </p15:clr>
        </p15:guide>
        <p15:guide id="48" orient="horz" pos="119">
          <p15:clr>
            <a:srgbClr val="F26B43"/>
          </p15:clr>
        </p15:guide>
        <p15:guide id="49" orient="horz" pos="2387">
          <p15:clr>
            <a:srgbClr val="F26B43"/>
          </p15:clr>
        </p15:guide>
        <p15:guide id="50" orient="horz" pos="2614">
          <p15:clr>
            <a:srgbClr val="F26B43"/>
          </p15:clr>
        </p15:guide>
        <p15:guide id="51" orient="horz" pos="2840">
          <p15:clr>
            <a:srgbClr val="F26B43"/>
          </p15:clr>
        </p15:guide>
        <p15:guide id="52" orient="horz" pos="3067">
          <p15:clr>
            <a:srgbClr val="F26B43"/>
          </p15:clr>
        </p15:guide>
        <p15:guide id="53" orient="horz" pos="3294">
          <p15:clr>
            <a:srgbClr val="F26B43"/>
          </p15:clr>
        </p15:guide>
        <p15:guide id="54" orient="horz" pos="3521">
          <p15:clr>
            <a:srgbClr val="F26B43"/>
          </p15:clr>
        </p15:guide>
        <p15:guide id="55" orient="horz" pos="3748">
          <p15:clr>
            <a:srgbClr val="F26B43"/>
          </p15:clr>
        </p15:guide>
        <p15:guide id="56" orient="horz" pos="3974">
          <p15:clr>
            <a:srgbClr val="F26B43"/>
          </p15:clr>
        </p15:guide>
        <p15:guide id="57" orient="horz" pos="4201">
          <p15:clr>
            <a:srgbClr val="F26B43"/>
          </p15:clr>
        </p15:guide>
        <p15:guide id="58" pos="325">
          <p15:clr>
            <a:srgbClr val="F26B43"/>
          </p15:clr>
        </p15:guide>
        <p15:guide id="59" pos="735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1438EE2-FF0A-D827-EB35-804E94D76D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21421665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3" imgW="395" imgH="394" progId="TCLayout.ActiveDocument.1">
                  <p:embed/>
                </p:oleObj>
              </mc:Choice>
              <mc:Fallback>
                <p:oleObj name="Diapositiva de think-cell" r:id="rId1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438EE2-FF0A-D827-EB35-804E94D76D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14" y="2542414"/>
            <a:ext cx="17339786" cy="218595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</a:t>
            </a:r>
            <a:r>
              <a:rPr lang="es-ES" err="1"/>
              <a:t>patrónz</a:t>
            </a:r>
            <a:endParaRPr lang="es-E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2858" y="5589891"/>
            <a:ext cx="17339786" cy="717567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9B3E648F-C489-00D3-FE66-635C8291212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10957501"/>
            <a:ext cx="19381609" cy="177613"/>
          </a:xfrm>
          <a:prstGeom prst="rect">
            <a:avLst/>
          </a:prstGeom>
        </p:spPr>
        <p:txBody>
          <a:bodyPr horzOverflow="overflow" wrap="square" lIns="0" tIns="0" rIns="0" bIns="0">
            <a:spAutoFit/>
          </a:bodyPr>
          <a:lstStyle/>
          <a:p>
            <a:pPr algn="r"/>
            <a:r>
              <a:rPr lang="es-ES" sz="1154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*Este documento está clasificado como PUBLICO por TELEFÓNICA.**</a:t>
            </a:r>
            <a:r>
              <a:rPr lang="es-ES" sz="1154" err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</a:t>
            </a:r>
            <a:r>
              <a:rPr lang="es-ES" sz="1154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1154" err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ument</a:t>
            </a:r>
            <a:r>
              <a:rPr lang="es-ES" sz="1154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1154" err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es-ES" sz="1154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1154" err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ed</a:t>
            </a:r>
            <a:r>
              <a:rPr lang="es-ES" sz="1154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 PUBLIC </a:t>
            </a:r>
            <a:r>
              <a:rPr lang="es-ES" sz="1154" err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</a:t>
            </a:r>
            <a:r>
              <a:rPr lang="es-ES" sz="1154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LEFÓNICA.</a:t>
            </a:r>
          </a:p>
        </p:txBody>
      </p:sp>
    </p:spTree>
    <p:extLst>
      <p:ext uri="{BB962C8B-B14F-4D97-AF65-F5344CB8AC3E}">
        <p14:creationId xmlns:p14="http://schemas.microsoft.com/office/powerpoint/2010/main" val="882643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</p:sldLayoutIdLst>
  <p:hf hdr="0" ftr="0" dt="0"/>
  <p:txStyles>
    <p:titleStyle>
      <a:lvl1pPr algn="l" defTabSz="1507846" rtl="0" eaLnBrk="1" latinLnBrk="0" hangingPunct="1">
        <a:lnSpc>
          <a:spcPct val="90000"/>
        </a:lnSpc>
        <a:spcBef>
          <a:spcPct val="0"/>
        </a:spcBef>
        <a:buNone/>
        <a:defRPr sz="8905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507846" rtl="0" eaLnBrk="1" latinLnBrk="0" hangingPunct="1">
        <a:lnSpc>
          <a:spcPct val="90000"/>
        </a:lnSpc>
        <a:spcBef>
          <a:spcPts val="1649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753923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507846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2261768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3015691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4146575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498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21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34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3613">
          <p15:clr>
            <a:srgbClr val="F26B43"/>
          </p15:clr>
        </p15:guide>
        <p15:guide id="9" pos="3386">
          <p15:clr>
            <a:srgbClr val="F26B43"/>
          </p15:clr>
        </p15:guide>
        <p15:guide id="10" pos="3160">
          <p15:clr>
            <a:srgbClr val="F26B43"/>
          </p15:clr>
        </p15:guide>
        <p15:guide id="11" pos="2933">
          <p15:clr>
            <a:srgbClr val="F26B43"/>
          </p15:clr>
        </p15:guide>
        <p15:guide id="12" pos="2706">
          <p15:clr>
            <a:srgbClr val="F26B43"/>
          </p15:clr>
        </p15:guide>
        <p15:guide id="13" pos="2479">
          <p15:clr>
            <a:srgbClr val="F26B43"/>
          </p15:clr>
        </p15:guide>
        <p15:guide id="14" pos="2252">
          <p15:clr>
            <a:srgbClr val="F26B43"/>
          </p15:clr>
        </p15:guide>
        <p15:guide id="15" pos="2026">
          <p15:clr>
            <a:srgbClr val="F26B43"/>
          </p15:clr>
        </p15:guide>
        <p15:guide id="16" pos="1572">
          <p15:clr>
            <a:srgbClr val="F26B43"/>
          </p15:clr>
        </p15:guide>
        <p15:guide id="17" pos="1345">
          <p15:clr>
            <a:srgbClr val="F26B43"/>
          </p15:clr>
        </p15:guide>
        <p15:guide id="18" pos="1799">
          <p15:clr>
            <a:srgbClr val="F26B43"/>
          </p15:clr>
        </p15:guide>
        <p15:guide id="19" pos="1118">
          <p15:clr>
            <a:srgbClr val="F26B43"/>
          </p15:clr>
        </p15:guide>
        <p15:guide id="20" pos="892">
          <p15:clr>
            <a:srgbClr val="F26B43"/>
          </p15:clr>
        </p15:guide>
        <p15:guide id="21" pos="665">
          <p15:clr>
            <a:srgbClr val="F26B43"/>
          </p15:clr>
        </p15:guide>
        <p15:guide id="22" pos="438">
          <p15:clr>
            <a:srgbClr val="F26B43"/>
          </p15:clr>
        </p15:guide>
        <p15:guide id="23" pos="211">
          <p15:clr>
            <a:srgbClr val="F26B43"/>
          </p15:clr>
        </p15:guide>
        <p15:guide id="24" pos="4067">
          <p15:clr>
            <a:srgbClr val="F26B43"/>
          </p15:clr>
        </p15:guide>
        <p15:guide id="25" pos="4294">
          <p15:clr>
            <a:srgbClr val="F26B43"/>
          </p15:clr>
        </p15:guide>
        <p15:guide id="26" pos="4520">
          <p15:clr>
            <a:srgbClr val="F26B43"/>
          </p15:clr>
        </p15:guide>
        <p15:guide id="27" pos="4747">
          <p15:clr>
            <a:srgbClr val="F26B43"/>
          </p15:clr>
        </p15:guide>
        <p15:guide id="28" pos="4974">
          <p15:clr>
            <a:srgbClr val="F26B43"/>
          </p15:clr>
        </p15:guide>
        <p15:guide id="29" pos="5201">
          <p15:clr>
            <a:srgbClr val="F26B43"/>
          </p15:clr>
        </p15:guide>
        <p15:guide id="30" pos="5428">
          <p15:clr>
            <a:srgbClr val="F26B43"/>
          </p15:clr>
        </p15:guide>
        <p15:guide id="31" pos="5654">
          <p15:clr>
            <a:srgbClr val="F26B43"/>
          </p15:clr>
        </p15:guide>
        <p15:guide id="32" pos="5881">
          <p15:clr>
            <a:srgbClr val="F26B43"/>
          </p15:clr>
        </p15:guide>
        <p15:guide id="33" pos="6108">
          <p15:clr>
            <a:srgbClr val="F26B43"/>
          </p15:clr>
        </p15:guide>
        <p15:guide id="34" pos="6335">
          <p15:clr>
            <a:srgbClr val="F26B43"/>
          </p15:clr>
        </p15:guide>
        <p15:guide id="35" pos="6562">
          <p15:clr>
            <a:srgbClr val="F26B43"/>
          </p15:clr>
        </p15:guide>
        <p15:guide id="36" pos="6788">
          <p15:clr>
            <a:srgbClr val="F26B43"/>
          </p15:clr>
        </p15:guide>
        <p15:guide id="37" pos="7015">
          <p15:clr>
            <a:srgbClr val="F26B43"/>
          </p15:clr>
        </p15:guide>
        <p15:guide id="38" pos="7242">
          <p15:clr>
            <a:srgbClr val="F26B43"/>
          </p15:clr>
        </p15:guide>
        <p15:guide id="39" pos="7469">
          <p15:clr>
            <a:srgbClr val="F26B43"/>
          </p15:clr>
        </p15:guide>
        <p15:guide id="40" orient="horz" pos="1933">
          <p15:clr>
            <a:srgbClr val="F26B43"/>
          </p15:clr>
        </p15:guide>
        <p15:guide id="41" orient="horz" pos="1706">
          <p15:clr>
            <a:srgbClr val="F26B43"/>
          </p15:clr>
        </p15:guide>
        <p15:guide id="42" orient="horz" pos="1480">
          <p15:clr>
            <a:srgbClr val="F26B43"/>
          </p15:clr>
        </p15:guide>
        <p15:guide id="43" orient="horz" pos="1253">
          <p15:clr>
            <a:srgbClr val="F26B43"/>
          </p15:clr>
        </p15:guide>
        <p15:guide id="44" orient="horz" pos="1026">
          <p15:clr>
            <a:srgbClr val="F26B43"/>
          </p15:clr>
        </p15:guide>
        <p15:guide id="45" orient="horz" pos="799">
          <p15:clr>
            <a:srgbClr val="F26B43"/>
          </p15:clr>
        </p15:guide>
        <p15:guide id="46" orient="horz" pos="572">
          <p15:clr>
            <a:srgbClr val="F26B43"/>
          </p15:clr>
        </p15:guide>
        <p15:guide id="47" orient="horz" pos="346">
          <p15:clr>
            <a:srgbClr val="F26B43"/>
          </p15:clr>
        </p15:guide>
        <p15:guide id="48" orient="horz" pos="119">
          <p15:clr>
            <a:srgbClr val="F26B43"/>
          </p15:clr>
        </p15:guide>
        <p15:guide id="49" orient="horz" pos="2387">
          <p15:clr>
            <a:srgbClr val="F26B43"/>
          </p15:clr>
        </p15:guide>
        <p15:guide id="50" orient="horz" pos="2614">
          <p15:clr>
            <a:srgbClr val="F26B43"/>
          </p15:clr>
        </p15:guide>
        <p15:guide id="51" orient="horz" pos="2840">
          <p15:clr>
            <a:srgbClr val="F26B43"/>
          </p15:clr>
        </p15:guide>
        <p15:guide id="52" orient="horz" pos="3067">
          <p15:clr>
            <a:srgbClr val="F26B43"/>
          </p15:clr>
        </p15:guide>
        <p15:guide id="53" orient="horz" pos="3294">
          <p15:clr>
            <a:srgbClr val="F26B43"/>
          </p15:clr>
        </p15:guide>
        <p15:guide id="54" orient="horz" pos="3521">
          <p15:clr>
            <a:srgbClr val="F26B43"/>
          </p15:clr>
        </p15:guide>
        <p15:guide id="55" orient="horz" pos="3748">
          <p15:clr>
            <a:srgbClr val="F26B43"/>
          </p15:clr>
        </p15:guide>
        <p15:guide id="56" orient="horz" pos="3974">
          <p15:clr>
            <a:srgbClr val="F26B43"/>
          </p15:clr>
        </p15:guide>
        <p15:guide id="57" orient="horz" pos="4201">
          <p15:clr>
            <a:srgbClr val="F26B43"/>
          </p15:clr>
        </p15:guide>
        <p15:guide id="58" pos="325">
          <p15:clr>
            <a:srgbClr val="F26B43"/>
          </p15:clr>
        </p15:guide>
        <p15:guide id="59" pos="7355">
          <p15:clr>
            <a:srgbClr val="F26B43"/>
          </p15:clr>
        </p15:guide>
        <p15:guide id="60" orient="horz" pos="4110">
          <p15:clr>
            <a:srgbClr val="F26B43"/>
          </p15:clr>
        </p15:guide>
        <p15:guide id="61" orient="horz" pos="21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757" y="2542415"/>
            <a:ext cx="17339786" cy="85367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2871" y="5589892"/>
            <a:ext cx="17339786" cy="149548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6" name="Imagen 5" descr="Logotipo&#10;&#10;Descripción generada automáticamente">
            <a:extLst>
              <a:ext uri="{FF2B5EF4-FFF2-40B4-BE49-F238E27FC236}">
                <a16:creationId xmlns:a16="http://schemas.microsoft.com/office/drawing/2014/main" id="{2EB89BCE-9D6D-1247-8C85-BC66037901B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31075" y="10626634"/>
            <a:ext cx="2203259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540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1" r:id="rId4"/>
    <p:sldLayoutId id="2147483772" r:id="rId5"/>
  </p:sldLayoutIdLst>
  <p:hf hdr="0" ftr="0" dt="0"/>
  <p:txStyles>
    <p:titleStyle>
      <a:lvl1pPr algn="l" defTabSz="1507846" rtl="0" eaLnBrk="1" latinLnBrk="0" hangingPunct="1">
        <a:lnSpc>
          <a:spcPct val="90000"/>
        </a:lnSpc>
        <a:spcBef>
          <a:spcPct val="0"/>
        </a:spcBef>
        <a:buNone/>
        <a:defRPr sz="3298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507846" rtl="0" eaLnBrk="1" latinLnBrk="0" hangingPunct="1">
        <a:lnSpc>
          <a:spcPct val="90000"/>
        </a:lnSpc>
        <a:spcBef>
          <a:spcPts val="1649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753923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2968" kern="1200" baseline="0">
          <a:solidFill>
            <a:schemeClr val="tx1">
              <a:lumMod val="60000"/>
              <a:lumOff val="40000"/>
            </a:schemeClr>
          </a:solidFill>
          <a:latin typeface="+mn-lt"/>
          <a:ea typeface="+mn-ea"/>
          <a:cs typeface="+mn-cs"/>
        </a:defRPr>
      </a:lvl2pPr>
      <a:lvl3pPr marL="1507846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2144" kern="1200" cap="all" baseline="0">
          <a:solidFill>
            <a:schemeClr val="tx1">
              <a:lumMod val="60000"/>
              <a:lumOff val="40000"/>
            </a:schemeClr>
          </a:solidFill>
          <a:latin typeface="+mn-lt"/>
          <a:ea typeface="+mn-ea"/>
          <a:cs typeface="+mn-cs"/>
        </a:defRPr>
      </a:lvl3pPr>
      <a:lvl4pPr marL="2261768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3298" kern="1200" cap="all" baseline="0">
          <a:solidFill>
            <a:schemeClr val="tx1"/>
          </a:solidFill>
          <a:latin typeface="+mn-lt"/>
          <a:ea typeface="+mn-ea"/>
          <a:cs typeface="+mn-cs"/>
        </a:defRPr>
      </a:lvl4pPr>
      <a:lvl5pPr marL="3015691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4146575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498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21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34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3613">
          <p15:clr>
            <a:srgbClr val="F26B43"/>
          </p15:clr>
        </p15:guide>
        <p15:guide id="9" pos="3386">
          <p15:clr>
            <a:srgbClr val="F26B43"/>
          </p15:clr>
        </p15:guide>
        <p15:guide id="10" pos="3160">
          <p15:clr>
            <a:srgbClr val="F26B43"/>
          </p15:clr>
        </p15:guide>
        <p15:guide id="11" pos="2933">
          <p15:clr>
            <a:srgbClr val="F26B43"/>
          </p15:clr>
        </p15:guide>
        <p15:guide id="12" pos="2706">
          <p15:clr>
            <a:srgbClr val="F26B43"/>
          </p15:clr>
        </p15:guide>
        <p15:guide id="13" pos="2479">
          <p15:clr>
            <a:srgbClr val="F26B43"/>
          </p15:clr>
        </p15:guide>
        <p15:guide id="14" pos="2252">
          <p15:clr>
            <a:srgbClr val="F26B43"/>
          </p15:clr>
        </p15:guide>
        <p15:guide id="15" pos="2026">
          <p15:clr>
            <a:srgbClr val="F26B43"/>
          </p15:clr>
        </p15:guide>
        <p15:guide id="16" pos="1572">
          <p15:clr>
            <a:srgbClr val="F26B43"/>
          </p15:clr>
        </p15:guide>
        <p15:guide id="17" pos="1345">
          <p15:clr>
            <a:srgbClr val="F26B43"/>
          </p15:clr>
        </p15:guide>
        <p15:guide id="18" pos="1799">
          <p15:clr>
            <a:srgbClr val="F26B43"/>
          </p15:clr>
        </p15:guide>
        <p15:guide id="19" pos="1118">
          <p15:clr>
            <a:srgbClr val="F26B43"/>
          </p15:clr>
        </p15:guide>
        <p15:guide id="20" pos="892">
          <p15:clr>
            <a:srgbClr val="F26B43"/>
          </p15:clr>
        </p15:guide>
        <p15:guide id="21" pos="665">
          <p15:clr>
            <a:srgbClr val="F26B43"/>
          </p15:clr>
        </p15:guide>
        <p15:guide id="22" pos="438">
          <p15:clr>
            <a:srgbClr val="F26B43"/>
          </p15:clr>
        </p15:guide>
        <p15:guide id="23" pos="211">
          <p15:clr>
            <a:srgbClr val="F26B43"/>
          </p15:clr>
        </p15:guide>
        <p15:guide id="24" pos="4067">
          <p15:clr>
            <a:srgbClr val="F26B43"/>
          </p15:clr>
        </p15:guide>
        <p15:guide id="25" pos="4294">
          <p15:clr>
            <a:srgbClr val="F26B43"/>
          </p15:clr>
        </p15:guide>
        <p15:guide id="26" pos="4520">
          <p15:clr>
            <a:srgbClr val="F26B43"/>
          </p15:clr>
        </p15:guide>
        <p15:guide id="27" pos="4747">
          <p15:clr>
            <a:srgbClr val="F26B43"/>
          </p15:clr>
        </p15:guide>
        <p15:guide id="28" pos="4974">
          <p15:clr>
            <a:srgbClr val="F26B43"/>
          </p15:clr>
        </p15:guide>
        <p15:guide id="29" pos="5201">
          <p15:clr>
            <a:srgbClr val="F26B43"/>
          </p15:clr>
        </p15:guide>
        <p15:guide id="30" pos="5428">
          <p15:clr>
            <a:srgbClr val="F26B43"/>
          </p15:clr>
        </p15:guide>
        <p15:guide id="31" pos="5654">
          <p15:clr>
            <a:srgbClr val="F26B43"/>
          </p15:clr>
        </p15:guide>
        <p15:guide id="32" pos="5881">
          <p15:clr>
            <a:srgbClr val="F26B43"/>
          </p15:clr>
        </p15:guide>
        <p15:guide id="33" pos="6108">
          <p15:clr>
            <a:srgbClr val="F26B43"/>
          </p15:clr>
        </p15:guide>
        <p15:guide id="34" pos="6335">
          <p15:clr>
            <a:srgbClr val="F26B43"/>
          </p15:clr>
        </p15:guide>
        <p15:guide id="35" pos="6562">
          <p15:clr>
            <a:srgbClr val="F26B43"/>
          </p15:clr>
        </p15:guide>
        <p15:guide id="36" pos="6788">
          <p15:clr>
            <a:srgbClr val="F26B43"/>
          </p15:clr>
        </p15:guide>
        <p15:guide id="37" pos="7015">
          <p15:clr>
            <a:srgbClr val="F26B43"/>
          </p15:clr>
        </p15:guide>
        <p15:guide id="38" pos="7242">
          <p15:clr>
            <a:srgbClr val="F26B43"/>
          </p15:clr>
        </p15:guide>
        <p15:guide id="39" pos="7469">
          <p15:clr>
            <a:srgbClr val="F26B43"/>
          </p15:clr>
        </p15:guide>
        <p15:guide id="40" orient="horz" pos="1933">
          <p15:clr>
            <a:srgbClr val="F26B43"/>
          </p15:clr>
        </p15:guide>
        <p15:guide id="41" orient="horz" pos="1706">
          <p15:clr>
            <a:srgbClr val="F26B43"/>
          </p15:clr>
        </p15:guide>
        <p15:guide id="42" orient="horz" pos="1480">
          <p15:clr>
            <a:srgbClr val="F26B43"/>
          </p15:clr>
        </p15:guide>
        <p15:guide id="43" orient="horz" pos="1253">
          <p15:clr>
            <a:srgbClr val="F26B43"/>
          </p15:clr>
        </p15:guide>
        <p15:guide id="44" orient="horz" pos="1026">
          <p15:clr>
            <a:srgbClr val="F26B43"/>
          </p15:clr>
        </p15:guide>
        <p15:guide id="45" orient="horz" pos="799">
          <p15:clr>
            <a:srgbClr val="F26B43"/>
          </p15:clr>
        </p15:guide>
        <p15:guide id="46" orient="horz" pos="572">
          <p15:clr>
            <a:srgbClr val="F26B43"/>
          </p15:clr>
        </p15:guide>
        <p15:guide id="47" orient="horz" pos="346">
          <p15:clr>
            <a:srgbClr val="F26B43"/>
          </p15:clr>
        </p15:guide>
        <p15:guide id="48" orient="horz" pos="119">
          <p15:clr>
            <a:srgbClr val="F26B43"/>
          </p15:clr>
        </p15:guide>
        <p15:guide id="49" orient="horz" pos="2387">
          <p15:clr>
            <a:srgbClr val="F26B43"/>
          </p15:clr>
        </p15:guide>
        <p15:guide id="50" orient="horz" pos="2614">
          <p15:clr>
            <a:srgbClr val="F26B43"/>
          </p15:clr>
        </p15:guide>
        <p15:guide id="51" orient="horz" pos="2840">
          <p15:clr>
            <a:srgbClr val="F26B43"/>
          </p15:clr>
        </p15:guide>
        <p15:guide id="52" orient="horz" pos="3067">
          <p15:clr>
            <a:srgbClr val="F26B43"/>
          </p15:clr>
        </p15:guide>
        <p15:guide id="53" orient="horz" pos="3294">
          <p15:clr>
            <a:srgbClr val="F26B43"/>
          </p15:clr>
        </p15:guide>
        <p15:guide id="54" orient="horz" pos="3521">
          <p15:clr>
            <a:srgbClr val="F26B43"/>
          </p15:clr>
        </p15:guide>
        <p15:guide id="55" orient="horz" pos="3748">
          <p15:clr>
            <a:srgbClr val="F26B43"/>
          </p15:clr>
        </p15:guide>
        <p15:guide id="56" orient="horz" pos="3974">
          <p15:clr>
            <a:srgbClr val="F26B43"/>
          </p15:clr>
        </p15:guide>
        <p15:guide id="57" orient="horz" pos="4201">
          <p15:clr>
            <a:srgbClr val="F26B43"/>
          </p15:clr>
        </p15:guide>
        <p15:guide id="58" pos="325">
          <p15:clr>
            <a:srgbClr val="F26B43"/>
          </p15:clr>
        </p15:guide>
        <p15:guide id="59" pos="7355">
          <p15:clr>
            <a:srgbClr val="F26B43"/>
          </p15:clr>
        </p15:guide>
        <p15:guide id="60" orient="horz" pos="4088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732" y="2542414"/>
            <a:ext cx="17339786" cy="218595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</a:t>
            </a:r>
            <a:r>
              <a:rPr lang="es-ES" err="1"/>
              <a:t>patrónz</a:t>
            </a:r>
            <a:endParaRPr lang="es-E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6676" y="5589893"/>
            <a:ext cx="17339786" cy="359593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E13B4B00-15EA-D793-903A-0083C152B18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04710" y="10852788"/>
            <a:ext cx="4457980" cy="355225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ES" sz="1154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**Este documento está clasificado como USO INTERNO por TELEFÓNICA.
***This document is classified as INTERNAL USE by TELEFÓNICA.</a:t>
            </a:r>
          </a:p>
        </p:txBody>
      </p:sp>
    </p:spTree>
    <p:extLst>
      <p:ext uri="{BB962C8B-B14F-4D97-AF65-F5344CB8AC3E}">
        <p14:creationId xmlns:p14="http://schemas.microsoft.com/office/powerpoint/2010/main" val="809322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1" r:id="rId7"/>
  </p:sldLayoutIdLst>
  <p:hf sldNum="0" hdr="0" ftr="0" dt="0"/>
  <p:txStyles>
    <p:titleStyle>
      <a:lvl1pPr algn="l" defTabSz="1507864" rtl="0" eaLnBrk="1" latinLnBrk="0" hangingPunct="1">
        <a:lnSpc>
          <a:spcPct val="90000"/>
        </a:lnSpc>
        <a:spcBef>
          <a:spcPct val="0"/>
        </a:spcBef>
        <a:buNone/>
        <a:defRPr sz="8905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507864" rtl="0" eaLnBrk="1" latinLnBrk="0" hangingPunct="1">
        <a:lnSpc>
          <a:spcPct val="90000"/>
        </a:lnSpc>
        <a:spcBef>
          <a:spcPts val="1649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753933" indent="0" algn="l" defTabSz="1507864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507864" indent="0" algn="l" defTabSz="1507864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2261796" indent="0" algn="l" defTabSz="1507864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3015729" indent="0" algn="l" defTabSz="1507864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4146628" indent="-376966" algn="l" defTabSz="1507864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559" indent="-376966" algn="l" defTabSz="1507864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92" indent="-376966" algn="l" defTabSz="1507864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423" indent="-376966" algn="l" defTabSz="1507864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507864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33" algn="l" defTabSz="1507864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64" algn="l" defTabSz="1507864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96" algn="l" defTabSz="1507864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729" algn="l" defTabSz="1507864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62" algn="l" defTabSz="1507864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93" algn="l" defTabSz="1507864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526" algn="l" defTabSz="1507864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458" algn="l" defTabSz="1507864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3612">
          <p15:clr>
            <a:srgbClr val="F26B43"/>
          </p15:clr>
        </p15:guide>
        <p15:guide id="9" pos="3387">
          <p15:clr>
            <a:srgbClr val="F26B43"/>
          </p15:clr>
        </p15:guide>
        <p15:guide id="10" pos="3161">
          <p15:clr>
            <a:srgbClr val="F26B43"/>
          </p15:clr>
        </p15:guide>
        <p15:guide id="11" pos="2933">
          <p15:clr>
            <a:srgbClr val="F26B43"/>
          </p15:clr>
        </p15:guide>
        <p15:guide id="12" pos="2706">
          <p15:clr>
            <a:srgbClr val="F26B43"/>
          </p15:clr>
        </p15:guide>
        <p15:guide id="13" pos="2478">
          <p15:clr>
            <a:srgbClr val="F26B43"/>
          </p15:clr>
        </p15:guide>
        <p15:guide id="14" pos="2252">
          <p15:clr>
            <a:srgbClr val="F26B43"/>
          </p15:clr>
        </p15:guide>
        <p15:guide id="15" pos="2027">
          <p15:clr>
            <a:srgbClr val="F26B43"/>
          </p15:clr>
        </p15:guide>
        <p15:guide id="16" pos="1572">
          <p15:clr>
            <a:srgbClr val="F26B43"/>
          </p15:clr>
        </p15:guide>
        <p15:guide id="17" pos="1346">
          <p15:clr>
            <a:srgbClr val="F26B43"/>
          </p15:clr>
        </p15:guide>
        <p15:guide id="18" pos="1799">
          <p15:clr>
            <a:srgbClr val="F26B43"/>
          </p15:clr>
        </p15:guide>
        <p15:guide id="19" pos="1118">
          <p15:clr>
            <a:srgbClr val="F26B43"/>
          </p15:clr>
        </p15:guide>
        <p15:guide id="20" pos="892">
          <p15:clr>
            <a:srgbClr val="F26B43"/>
          </p15:clr>
        </p15:guide>
        <p15:guide id="21" pos="665">
          <p15:clr>
            <a:srgbClr val="F26B43"/>
          </p15:clr>
        </p15:guide>
        <p15:guide id="22" pos="437">
          <p15:clr>
            <a:srgbClr val="F26B43"/>
          </p15:clr>
        </p15:guide>
        <p15:guide id="23" pos="212">
          <p15:clr>
            <a:srgbClr val="F26B43"/>
          </p15:clr>
        </p15:guide>
        <p15:guide id="24" pos="4068">
          <p15:clr>
            <a:srgbClr val="F26B43"/>
          </p15:clr>
        </p15:guide>
        <p15:guide id="25" pos="4293">
          <p15:clr>
            <a:srgbClr val="F26B43"/>
          </p15:clr>
        </p15:guide>
        <p15:guide id="26" pos="4521">
          <p15:clr>
            <a:srgbClr val="F26B43"/>
          </p15:clr>
        </p15:guide>
        <p15:guide id="27" pos="4747">
          <p15:clr>
            <a:srgbClr val="F26B43"/>
          </p15:clr>
        </p15:guide>
        <p15:guide id="28" pos="4974">
          <p15:clr>
            <a:srgbClr val="F26B43"/>
          </p15:clr>
        </p15:guide>
        <p15:guide id="29" pos="5202">
          <p15:clr>
            <a:srgbClr val="F26B43"/>
          </p15:clr>
        </p15:guide>
        <p15:guide id="30" pos="5428">
          <p15:clr>
            <a:srgbClr val="F26B43"/>
          </p15:clr>
        </p15:guide>
        <p15:guide id="31" pos="5653">
          <p15:clr>
            <a:srgbClr val="F26B43"/>
          </p15:clr>
        </p15:guide>
        <p15:guide id="32" pos="5881">
          <p15:clr>
            <a:srgbClr val="F26B43"/>
          </p15:clr>
        </p15:guide>
        <p15:guide id="33" pos="6108">
          <p15:clr>
            <a:srgbClr val="F26B43"/>
          </p15:clr>
        </p15:guide>
        <p15:guide id="34" pos="6334">
          <p15:clr>
            <a:srgbClr val="F26B43"/>
          </p15:clr>
        </p15:guide>
        <p15:guide id="35" pos="6562">
          <p15:clr>
            <a:srgbClr val="F26B43"/>
          </p15:clr>
        </p15:guide>
        <p15:guide id="36" pos="6788">
          <p15:clr>
            <a:srgbClr val="F26B43"/>
          </p15:clr>
        </p15:guide>
        <p15:guide id="37" pos="7015">
          <p15:clr>
            <a:srgbClr val="F26B43"/>
          </p15:clr>
        </p15:guide>
        <p15:guide id="38" pos="7243">
          <p15:clr>
            <a:srgbClr val="F26B43"/>
          </p15:clr>
        </p15:guide>
        <p15:guide id="39" pos="7468">
          <p15:clr>
            <a:srgbClr val="F26B43"/>
          </p15:clr>
        </p15:guide>
        <p15:guide id="40" orient="horz" pos="1933">
          <p15:clr>
            <a:srgbClr val="F26B43"/>
          </p15:clr>
        </p15:guide>
        <p15:guide id="41" orient="horz" pos="1706">
          <p15:clr>
            <a:srgbClr val="F26B43"/>
          </p15:clr>
        </p15:guide>
        <p15:guide id="42" orient="horz" pos="1480">
          <p15:clr>
            <a:srgbClr val="F26B43"/>
          </p15:clr>
        </p15:guide>
        <p15:guide id="43" orient="horz" pos="1253">
          <p15:clr>
            <a:srgbClr val="F26B43"/>
          </p15:clr>
        </p15:guide>
        <p15:guide id="44" orient="horz" pos="1026">
          <p15:clr>
            <a:srgbClr val="F26B43"/>
          </p15:clr>
        </p15:guide>
        <p15:guide id="45" orient="horz" pos="799">
          <p15:clr>
            <a:srgbClr val="F26B43"/>
          </p15:clr>
        </p15:guide>
        <p15:guide id="46" orient="horz" pos="572">
          <p15:clr>
            <a:srgbClr val="F26B43"/>
          </p15:clr>
        </p15:guide>
        <p15:guide id="47" orient="horz" pos="346">
          <p15:clr>
            <a:srgbClr val="F26B43"/>
          </p15:clr>
        </p15:guide>
        <p15:guide id="48" orient="horz" pos="119">
          <p15:clr>
            <a:srgbClr val="F26B43"/>
          </p15:clr>
        </p15:guide>
        <p15:guide id="49" orient="horz" pos="2387">
          <p15:clr>
            <a:srgbClr val="F26B43"/>
          </p15:clr>
        </p15:guide>
        <p15:guide id="50" orient="horz" pos="2614">
          <p15:clr>
            <a:srgbClr val="F26B43"/>
          </p15:clr>
        </p15:guide>
        <p15:guide id="51" orient="horz" pos="2840">
          <p15:clr>
            <a:srgbClr val="F26B43"/>
          </p15:clr>
        </p15:guide>
        <p15:guide id="52" orient="horz" pos="3067">
          <p15:clr>
            <a:srgbClr val="F26B43"/>
          </p15:clr>
        </p15:guide>
        <p15:guide id="53" orient="horz" pos="3294">
          <p15:clr>
            <a:srgbClr val="F26B43"/>
          </p15:clr>
        </p15:guide>
        <p15:guide id="54" orient="horz" pos="3521">
          <p15:clr>
            <a:srgbClr val="F26B43"/>
          </p15:clr>
        </p15:guide>
        <p15:guide id="55" orient="horz" pos="3748">
          <p15:clr>
            <a:srgbClr val="F26B43"/>
          </p15:clr>
        </p15:guide>
        <p15:guide id="56" orient="horz" pos="3974">
          <p15:clr>
            <a:srgbClr val="F26B43"/>
          </p15:clr>
        </p15:guide>
        <p15:guide id="57" orient="horz" pos="4201">
          <p15:clr>
            <a:srgbClr val="F26B43"/>
          </p15:clr>
        </p15:guide>
        <p15:guide id="58" pos="325">
          <p15:clr>
            <a:srgbClr val="F26B43"/>
          </p15:clr>
        </p15:guide>
        <p15:guide id="59" pos="7355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5571A4A-96CD-EE4C-B92F-17A6671C7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757" y="2542415"/>
            <a:ext cx="17339786" cy="85367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2491EEF-A675-614A-9540-A1E4F13DE6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2871" y="5589892"/>
            <a:ext cx="17339786" cy="149548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6" name="Imagen 5" descr="Logotipo&#10;&#10;Descripción generada automáticamente">
            <a:extLst>
              <a:ext uri="{FF2B5EF4-FFF2-40B4-BE49-F238E27FC236}">
                <a16:creationId xmlns:a16="http://schemas.microsoft.com/office/drawing/2014/main" id="{2EB89BCE-9D6D-1247-8C85-BC66037901B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31075" y="10626634"/>
            <a:ext cx="2203259" cy="2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579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</p:sldLayoutIdLst>
  <p:hf hdr="0" ftr="0" dt="0"/>
  <p:txStyles>
    <p:titleStyle>
      <a:lvl1pPr algn="l" defTabSz="1507846" rtl="0" eaLnBrk="1" latinLnBrk="0" hangingPunct="1">
        <a:lnSpc>
          <a:spcPct val="90000"/>
        </a:lnSpc>
        <a:spcBef>
          <a:spcPct val="0"/>
        </a:spcBef>
        <a:buNone/>
        <a:defRPr sz="3298" b="1" i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507846" rtl="0" eaLnBrk="1" latinLnBrk="0" hangingPunct="1">
        <a:lnSpc>
          <a:spcPct val="90000"/>
        </a:lnSpc>
        <a:spcBef>
          <a:spcPts val="1649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753923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2968" kern="1200" baseline="0">
          <a:solidFill>
            <a:schemeClr val="tx1">
              <a:lumMod val="60000"/>
              <a:lumOff val="40000"/>
            </a:schemeClr>
          </a:solidFill>
          <a:latin typeface="+mn-lt"/>
          <a:ea typeface="+mn-ea"/>
          <a:cs typeface="+mn-cs"/>
        </a:defRPr>
      </a:lvl2pPr>
      <a:lvl3pPr marL="1507846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2144" kern="1200" cap="all" baseline="0">
          <a:solidFill>
            <a:schemeClr val="tx1">
              <a:lumMod val="60000"/>
              <a:lumOff val="40000"/>
            </a:schemeClr>
          </a:solidFill>
          <a:latin typeface="+mn-lt"/>
          <a:ea typeface="+mn-ea"/>
          <a:cs typeface="+mn-cs"/>
        </a:defRPr>
      </a:lvl3pPr>
      <a:lvl4pPr marL="2261768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3298" kern="1200" cap="all" baseline="0">
          <a:solidFill>
            <a:schemeClr val="tx1"/>
          </a:solidFill>
          <a:latin typeface="+mn-lt"/>
          <a:ea typeface="+mn-ea"/>
          <a:cs typeface="+mn-cs"/>
        </a:defRPr>
      </a:lvl4pPr>
      <a:lvl5pPr marL="3015691" indent="0" algn="l" defTabSz="1507846" rtl="0" eaLnBrk="1" latinLnBrk="0" hangingPunct="1">
        <a:lnSpc>
          <a:spcPct val="90000"/>
        </a:lnSpc>
        <a:spcBef>
          <a:spcPts val="824"/>
        </a:spcBef>
        <a:buFontTx/>
        <a:buNone/>
        <a:defRPr sz="4123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4146575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498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21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34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7" pos="3840">
          <p15:clr>
            <a:srgbClr val="F26B43"/>
          </p15:clr>
        </p15:guide>
        <p15:guide id="8" pos="3613">
          <p15:clr>
            <a:srgbClr val="F26B43"/>
          </p15:clr>
        </p15:guide>
        <p15:guide id="9" pos="3386">
          <p15:clr>
            <a:srgbClr val="F26B43"/>
          </p15:clr>
        </p15:guide>
        <p15:guide id="10" pos="3160">
          <p15:clr>
            <a:srgbClr val="F26B43"/>
          </p15:clr>
        </p15:guide>
        <p15:guide id="11" pos="2933">
          <p15:clr>
            <a:srgbClr val="F26B43"/>
          </p15:clr>
        </p15:guide>
        <p15:guide id="12" pos="2706">
          <p15:clr>
            <a:srgbClr val="F26B43"/>
          </p15:clr>
        </p15:guide>
        <p15:guide id="13" pos="2479">
          <p15:clr>
            <a:srgbClr val="F26B43"/>
          </p15:clr>
        </p15:guide>
        <p15:guide id="14" pos="2252">
          <p15:clr>
            <a:srgbClr val="F26B43"/>
          </p15:clr>
        </p15:guide>
        <p15:guide id="15" pos="2026">
          <p15:clr>
            <a:srgbClr val="F26B43"/>
          </p15:clr>
        </p15:guide>
        <p15:guide id="16" pos="1572">
          <p15:clr>
            <a:srgbClr val="F26B43"/>
          </p15:clr>
        </p15:guide>
        <p15:guide id="17" pos="1345">
          <p15:clr>
            <a:srgbClr val="F26B43"/>
          </p15:clr>
        </p15:guide>
        <p15:guide id="18" pos="1799">
          <p15:clr>
            <a:srgbClr val="F26B43"/>
          </p15:clr>
        </p15:guide>
        <p15:guide id="19" pos="1118">
          <p15:clr>
            <a:srgbClr val="F26B43"/>
          </p15:clr>
        </p15:guide>
        <p15:guide id="20" pos="892">
          <p15:clr>
            <a:srgbClr val="F26B43"/>
          </p15:clr>
        </p15:guide>
        <p15:guide id="21" pos="665">
          <p15:clr>
            <a:srgbClr val="F26B43"/>
          </p15:clr>
        </p15:guide>
        <p15:guide id="22" pos="438">
          <p15:clr>
            <a:srgbClr val="F26B43"/>
          </p15:clr>
        </p15:guide>
        <p15:guide id="23" pos="211">
          <p15:clr>
            <a:srgbClr val="F26B43"/>
          </p15:clr>
        </p15:guide>
        <p15:guide id="24" pos="4067">
          <p15:clr>
            <a:srgbClr val="F26B43"/>
          </p15:clr>
        </p15:guide>
        <p15:guide id="25" pos="4294">
          <p15:clr>
            <a:srgbClr val="F26B43"/>
          </p15:clr>
        </p15:guide>
        <p15:guide id="26" pos="4520">
          <p15:clr>
            <a:srgbClr val="F26B43"/>
          </p15:clr>
        </p15:guide>
        <p15:guide id="27" pos="4747">
          <p15:clr>
            <a:srgbClr val="F26B43"/>
          </p15:clr>
        </p15:guide>
        <p15:guide id="28" pos="4974">
          <p15:clr>
            <a:srgbClr val="F26B43"/>
          </p15:clr>
        </p15:guide>
        <p15:guide id="29" pos="5201">
          <p15:clr>
            <a:srgbClr val="F26B43"/>
          </p15:clr>
        </p15:guide>
        <p15:guide id="30" pos="5428">
          <p15:clr>
            <a:srgbClr val="F26B43"/>
          </p15:clr>
        </p15:guide>
        <p15:guide id="31" pos="5654">
          <p15:clr>
            <a:srgbClr val="F26B43"/>
          </p15:clr>
        </p15:guide>
        <p15:guide id="32" pos="5881">
          <p15:clr>
            <a:srgbClr val="F26B43"/>
          </p15:clr>
        </p15:guide>
        <p15:guide id="33" pos="6108">
          <p15:clr>
            <a:srgbClr val="F26B43"/>
          </p15:clr>
        </p15:guide>
        <p15:guide id="34" pos="6335">
          <p15:clr>
            <a:srgbClr val="F26B43"/>
          </p15:clr>
        </p15:guide>
        <p15:guide id="35" pos="6562">
          <p15:clr>
            <a:srgbClr val="F26B43"/>
          </p15:clr>
        </p15:guide>
        <p15:guide id="36" pos="6788">
          <p15:clr>
            <a:srgbClr val="F26B43"/>
          </p15:clr>
        </p15:guide>
        <p15:guide id="37" pos="7015">
          <p15:clr>
            <a:srgbClr val="F26B43"/>
          </p15:clr>
        </p15:guide>
        <p15:guide id="38" pos="7242">
          <p15:clr>
            <a:srgbClr val="F26B43"/>
          </p15:clr>
        </p15:guide>
        <p15:guide id="39" pos="7469">
          <p15:clr>
            <a:srgbClr val="F26B43"/>
          </p15:clr>
        </p15:guide>
        <p15:guide id="40" orient="horz" pos="1933">
          <p15:clr>
            <a:srgbClr val="F26B43"/>
          </p15:clr>
        </p15:guide>
        <p15:guide id="41" orient="horz" pos="1706">
          <p15:clr>
            <a:srgbClr val="F26B43"/>
          </p15:clr>
        </p15:guide>
        <p15:guide id="42" orient="horz" pos="1480">
          <p15:clr>
            <a:srgbClr val="F26B43"/>
          </p15:clr>
        </p15:guide>
        <p15:guide id="43" orient="horz" pos="1253">
          <p15:clr>
            <a:srgbClr val="F26B43"/>
          </p15:clr>
        </p15:guide>
        <p15:guide id="44" orient="horz" pos="1026">
          <p15:clr>
            <a:srgbClr val="F26B43"/>
          </p15:clr>
        </p15:guide>
        <p15:guide id="45" orient="horz" pos="799">
          <p15:clr>
            <a:srgbClr val="F26B43"/>
          </p15:clr>
        </p15:guide>
        <p15:guide id="46" orient="horz" pos="572">
          <p15:clr>
            <a:srgbClr val="F26B43"/>
          </p15:clr>
        </p15:guide>
        <p15:guide id="47" orient="horz" pos="346">
          <p15:clr>
            <a:srgbClr val="F26B43"/>
          </p15:clr>
        </p15:guide>
        <p15:guide id="48" orient="horz" pos="119">
          <p15:clr>
            <a:srgbClr val="F26B43"/>
          </p15:clr>
        </p15:guide>
        <p15:guide id="49" orient="horz" pos="2387">
          <p15:clr>
            <a:srgbClr val="F26B43"/>
          </p15:clr>
        </p15:guide>
        <p15:guide id="50" orient="horz" pos="2614">
          <p15:clr>
            <a:srgbClr val="F26B43"/>
          </p15:clr>
        </p15:guide>
        <p15:guide id="51" orient="horz" pos="2840">
          <p15:clr>
            <a:srgbClr val="F26B43"/>
          </p15:clr>
        </p15:guide>
        <p15:guide id="52" orient="horz" pos="3067">
          <p15:clr>
            <a:srgbClr val="F26B43"/>
          </p15:clr>
        </p15:guide>
        <p15:guide id="53" orient="horz" pos="3294">
          <p15:clr>
            <a:srgbClr val="F26B43"/>
          </p15:clr>
        </p15:guide>
        <p15:guide id="54" orient="horz" pos="3521">
          <p15:clr>
            <a:srgbClr val="F26B43"/>
          </p15:clr>
        </p15:guide>
        <p15:guide id="55" orient="horz" pos="3748">
          <p15:clr>
            <a:srgbClr val="F26B43"/>
          </p15:clr>
        </p15:guide>
        <p15:guide id="56" orient="horz" pos="3974">
          <p15:clr>
            <a:srgbClr val="F26B43"/>
          </p15:clr>
        </p15:guide>
        <p15:guide id="57" orient="horz" pos="4201">
          <p15:clr>
            <a:srgbClr val="F26B43"/>
          </p15:clr>
        </p15:guide>
        <p15:guide id="58" pos="325">
          <p15:clr>
            <a:srgbClr val="F26B43"/>
          </p15:clr>
        </p15:guide>
        <p15:guide id="59" pos="7355">
          <p15:clr>
            <a:srgbClr val="F26B43"/>
          </p15:clr>
        </p15:guide>
        <p15:guide id="60" orient="horz" pos="40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acelerapyme.gob.es/" TargetMode="External"/><Relationship Id="rId4" Type="http://schemas.openxmlformats.org/officeDocument/2006/relationships/image" Target="../media/image6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svg"/><Relationship Id="rId3" Type="http://schemas.openxmlformats.org/officeDocument/2006/relationships/image" Target="../media/image70.png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73.svg"/><Relationship Id="rId5" Type="http://schemas.openxmlformats.org/officeDocument/2006/relationships/image" Target="../media/image72.png"/><Relationship Id="rId10" Type="http://schemas.openxmlformats.org/officeDocument/2006/relationships/image" Target="../media/image77.svg"/><Relationship Id="rId4" Type="http://schemas.openxmlformats.org/officeDocument/2006/relationships/image" Target="../media/image71.svg"/><Relationship Id="rId9" Type="http://schemas.openxmlformats.org/officeDocument/2006/relationships/image" Target="../media/image7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7" Type="http://schemas.openxmlformats.org/officeDocument/2006/relationships/image" Target="../media/image8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81.svg"/><Relationship Id="rId5" Type="http://schemas.openxmlformats.org/officeDocument/2006/relationships/image" Target="../media/image80.png"/><Relationship Id="rId4" Type="http://schemas.openxmlformats.org/officeDocument/2006/relationships/image" Target="../media/image79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svg"/><Relationship Id="rId13" Type="http://schemas.openxmlformats.org/officeDocument/2006/relationships/image" Target="../media/image89.png"/><Relationship Id="rId3" Type="http://schemas.openxmlformats.org/officeDocument/2006/relationships/image" Target="../media/image83.png"/><Relationship Id="rId7" Type="http://schemas.openxmlformats.org/officeDocument/2006/relationships/image" Target="../media/image85.png"/><Relationship Id="rId12" Type="http://schemas.openxmlformats.org/officeDocument/2006/relationships/hyperlink" Target="https://youtu.be/9qeVXs4jkh4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6" Type="http://schemas.openxmlformats.org/officeDocument/2006/relationships/hyperlink" Target="https://portal.gestion.sedepkd.red.gob.es/" TargetMode="External"/><Relationship Id="rId11" Type="http://schemas.openxmlformats.org/officeDocument/2006/relationships/hyperlink" Target="https://vimeo.com/812780266/13bd22c553" TargetMode="External"/><Relationship Id="rId5" Type="http://schemas.openxmlformats.org/officeDocument/2006/relationships/image" Target="../media/image84.jpeg"/><Relationship Id="rId10" Type="http://schemas.openxmlformats.org/officeDocument/2006/relationships/image" Target="../media/image88.svg"/><Relationship Id="rId4" Type="http://schemas.openxmlformats.org/officeDocument/2006/relationships/hyperlink" Target="https://portal.gestion.sedepkd.red.gob.es/portal/espacioPyme/" TargetMode="External"/><Relationship Id="rId9" Type="http://schemas.openxmlformats.org/officeDocument/2006/relationships/image" Target="../media/image87.png"/><Relationship Id="rId14" Type="http://schemas.openxmlformats.org/officeDocument/2006/relationships/image" Target="../media/image90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4" Type="http://schemas.openxmlformats.org/officeDocument/2006/relationships/image" Target="../media/image9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13" Type="http://schemas.openxmlformats.org/officeDocument/2006/relationships/image" Target="../media/image102.png"/><Relationship Id="rId3" Type="http://schemas.openxmlformats.org/officeDocument/2006/relationships/image" Target="../media/image93.png"/><Relationship Id="rId7" Type="http://schemas.openxmlformats.org/officeDocument/2006/relationships/image" Target="../media/image96.png"/><Relationship Id="rId12" Type="http://schemas.openxmlformats.org/officeDocument/2006/relationships/image" Target="../media/image101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95.png"/><Relationship Id="rId11" Type="http://schemas.openxmlformats.org/officeDocument/2006/relationships/image" Target="../media/image100.png"/><Relationship Id="rId5" Type="http://schemas.openxmlformats.org/officeDocument/2006/relationships/image" Target="../media/image68.png"/><Relationship Id="rId10" Type="http://schemas.openxmlformats.org/officeDocument/2006/relationships/image" Target="../media/image99.png"/><Relationship Id="rId4" Type="http://schemas.openxmlformats.org/officeDocument/2006/relationships/image" Target="../media/image94.png"/><Relationship Id="rId9" Type="http://schemas.openxmlformats.org/officeDocument/2006/relationships/image" Target="../media/image98.png"/><Relationship Id="rId14" Type="http://schemas.openxmlformats.org/officeDocument/2006/relationships/image" Target="../media/image10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7" Type="http://schemas.openxmlformats.org/officeDocument/2006/relationships/image" Target="../media/image10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6.png"/><Relationship Id="rId5" Type="http://schemas.openxmlformats.org/officeDocument/2006/relationships/image" Target="../media/image105.png"/><Relationship Id="rId4" Type="http://schemas.openxmlformats.org/officeDocument/2006/relationships/image" Target="../media/image6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3" Type="http://schemas.openxmlformats.org/officeDocument/2006/relationships/image" Target="../media/image62.jpeg"/><Relationship Id="rId7" Type="http://schemas.openxmlformats.org/officeDocument/2006/relationships/image" Target="../media/image111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4.xml"/><Relationship Id="rId6" Type="http://schemas.openxmlformats.org/officeDocument/2006/relationships/image" Target="../media/image110.png"/><Relationship Id="rId11" Type="http://schemas.openxmlformats.org/officeDocument/2006/relationships/image" Target="../media/image115.svg"/><Relationship Id="rId5" Type="http://schemas.openxmlformats.org/officeDocument/2006/relationships/image" Target="../media/image109.svg"/><Relationship Id="rId10" Type="http://schemas.openxmlformats.org/officeDocument/2006/relationships/image" Target="../media/image114.png"/><Relationship Id="rId4" Type="http://schemas.openxmlformats.org/officeDocument/2006/relationships/image" Target="../media/image108.png"/><Relationship Id="rId9" Type="http://schemas.openxmlformats.org/officeDocument/2006/relationships/image" Target="../media/image113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emf"/><Relationship Id="rId7" Type="http://schemas.openxmlformats.org/officeDocument/2006/relationships/hyperlink" Target="https://www.acelerapyme.gob.es/" TargetMode="External"/><Relationship Id="rId2" Type="http://schemas.openxmlformats.org/officeDocument/2006/relationships/image" Target="../media/image116.emf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1.png"/><Relationship Id="rId5" Type="http://schemas.openxmlformats.org/officeDocument/2006/relationships/image" Target="../media/image119.emf"/><Relationship Id="rId4" Type="http://schemas.openxmlformats.org/officeDocument/2006/relationships/image" Target="../media/image118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33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32.png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emf"/><Relationship Id="rId13" Type="http://schemas.openxmlformats.org/officeDocument/2006/relationships/image" Target="../media/image129.svg"/><Relationship Id="rId3" Type="http://schemas.openxmlformats.org/officeDocument/2006/relationships/image" Target="../media/image63.png"/><Relationship Id="rId7" Type="http://schemas.openxmlformats.org/officeDocument/2006/relationships/image" Target="../media/image123.emf"/><Relationship Id="rId12" Type="http://schemas.openxmlformats.org/officeDocument/2006/relationships/image" Target="../media/image128.png"/><Relationship Id="rId2" Type="http://schemas.openxmlformats.org/officeDocument/2006/relationships/hyperlink" Target="https://www.acelerapyme.gob.es/" TargetMode="Externa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22.emf"/><Relationship Id="rId11" Type="http://schemas.openxmlformats.org/officeDocument/2006/relationships/image" Target="../media/image127.png"/><Relationship Id="rId5" Type="http://schemas.openxmlformats.org/officeDocument/2006/relationships/image" Target="../media/image121.emf"/><Relationship Id="rId10" Type="http://schemas.openxmlformats.org/officeDocument/2006/relationships/image" Target="../media/image126.png"/><Relationship Id="rId4" Type="http://schemas.openxmlformats.org/officeDocument/2006/relationships/image" Target="../media/image120.emf"/><Relationship Id="rId9" Type="http://schemas.openxmlformats.org/officeDocument/2006/relationships/image" Target="../media/image12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svg"/><Relationship Id="rId7" Type="http://schemas.openxmlformats.org/officeDocument/2006/relationships/image" Target="../media/image39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38.png"/><Relationship Id="rId5" Type="http://schemas.openxmlformats.org/officeDocument/2006/relationships/image" Target="../media/image37.svg"/><Relationship Id="rId4" Type="http://schemas.openxmlformats.org/officeDocument/2006/relationships/image" Target="../media/image36.png"/><Relationship Id="rId9" Type="http://schemas.openxmlformats.org/officeDocument/2006/relationships/image" Target="../media/image41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2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emf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oleObject" Target="../embeddings/oleObject6.bin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50.xml"/><Relationship Id="rId1" Type="http://schemas.openxmlformats.org/officeDocument/2006/relationships/tags" Target="../tags/tag6.xml"/><Relationship Id="rId6" Type="http://schemas.openxmlformats.org/officeDocument/2006/relationships/image" Target="../media/image51.svg"/><Relationship Id="rId5" Type="http://schemas.openxmlformats.org/officeDocument/2006/relationships/image" Target="../media/image50.png"/><Relationship Id="rId4" Type="http://schemas.openxmlformats.org/officeDocument/2006/relationships/image" Target="../media/image16.emf"/><Relationship Id="rId9" Type="http://schemas.openxmlformats.org/officeDocument/2006/relationships/image" Target="../media/image5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57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42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6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6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20104100" cy="11308715"/>
            <a:chOff x="0" y="0"/>
            <a:chExt cx="20104100" cy="1130871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20104099" cy="8544242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8544242"/>
              <a:ext cx="20093940" cy="2764790"/>
            </a:xfrm>
            <a:custGeom>
              <a:avLst/>
              <a:gdLst/>
              <a:ahLst/>
              <a:cxnLst/>
              <a:rect l="l" t="t" r="r" b="b"/>
              <a:pathLst>
                <a:path w="20093940" h="2764790">
                  <a:moveTo>
                    <a:pt x="20093629" y="0"/>
                  </a:moveTo>
                  <a:lnTo>
                    <a:pt x="0" y="0"/>
                  </a:lnTo>
                  <a:lnTo>
                    <a:pt x="0" y="2764313"/>
                  </a:lnTo>
                  <a:lnTo>
                    <a:pt x="20093629" y="2764313"/>
                  </a:lnTo>
                  <a:lnTo>
                    <a:pt x="20093629" y="0"/>
                  </a:lnTo>
                  <a:close/>
                </a:path>
              </a:pathLst>
            </a:custGeom>
            <a:solidFill>
              <a:srgbClr val="0066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0"/>
              <a:ext cx="6693660" cy="5882217"/>
            </a:xfrm>
            <a:prstGeom prst="rect">
              <a:avLst/>
            </a:prstGeom>
          </p:spPr>
        </p:pic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1249471" y="3103032"/>
            <a:ext cx="7797800" cy="31000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0400"/>
              </a:lnSpc>
              <a:spcBef>
                <a:spcPts val="90"/>
              </a:spcBef>
            </a:pPr>
            <a:r>
              <a:rPr sz="6700" b="0" i="0">
                <a:solidFill>
                  <a:srgbClr val="FFFFFF"/>
                </a:solidFill>
                <a:latin typeface="Telefonica Sans Light"/>
                <a:cs typeface="Telefonica Sans Light"/>
              </a:rPr>
              <a:t>Un</a:t>
            </a:r>
            <a:r>
              <a:rPr sz="6700" b="0" i="0" spc="5">
                <a:solidFill>
                  <a:srgbClr val="FFFFFF"/>
                </a:solidFill>
                <a:latin typeface="Telefonica Sans Light"/>
                <a:cs typeface="Telefonica Sans Light"/>
              </a:rPr>
              <a:t> </a:t>
            </a:r>
            <a:r>
              <a:rPr sz="6700" b="0" i="0">
                <a:solidFill>
                  <a:srgbClr val="FFFFFF"/>
                </a:solidFill>
                <a:latin typeface="Telefonica Sans Light"/>
                <a:cs typeface="Telefonica Sans Light"/>
              </a:rPr>
              <a:t>paso</a:t>
            </a:r>
            <a:r>
              <a:rPr sz="6700" b="0" i="0" spc="5">
                <a:solidFill>
                  <a:srgbClr val="FFFFFF"/>
                </a:solidFill>
                <a:latin typeface="Telefonica Sans Light"/>
                <a:cs typeface="Telefonica Sans Light"/>
              </a:rPr>
              <a:t> </a:t>
            </a:r>
            <a:r>
              <a:rPr sz="6700" b="0" i="0">
                <a:solidFill>
                  <a:srgbClr val="FFFFFF"/>
                </a:solidFill>
                <a:latin typeface="Telefonica Sans Light"/>
                <a:cs typeface="Telefonica Sans Light"/>
              </a:rPr>
              <a:t>más</a:t>
            </a:r>
            <a:r>
              <a:rPr sz="6700" b="0" i="0" spc="5">
                <a:solidFill>
                  <a:srgbClr val="FFFFFF"/>
                </a:solidFill>
                <a:latin typeface="Telefonica Sans Light"/>
                <a:cs typeface="Telefonica Sans Light"/>
              </a:rPr>
              <a:t> </a:t>
            </a:r>
            <a:r>
              <a:rPr sz="6700" b="0" i="0">
                <a:solidFill>
                  <a:srgbClr val="FFFFFF"/>
                </a:solidFill>
                <a:latin typeface="Telefonica Sans Light"/>
                <a:cs typeface="Telefonica Sans Light"/>
              </a:rPr>
              <a:t>en</a:t>
            </a:r>
            <a:r>
              <a:rPr sz="6700" b="0" i="0" spc="5">
                <a:solidFill>
                  <a:srgbClr val="FFFFFF"/>
                </a:solidFill>
                <a:latin typeface="Telefonica Sans Light"/>
                <a:cs typeface="Telefonica Sans Light"/>
              </a:rPr>
              <a:t> </a:t>
            </a:r>
            <a:r>
              <a:rPr sz="6700" b="0" i="0" spc="-25">
                <a:solidFill>
                  <a:srgbClr val="FFFFFF"/>
                </a:solidFill>
                <a:latin typeface="Telefonica Sans Light"/>
                <a:cs typeface="Telefonica Sans Light"/>
              </a:rPr>
              <a:t>la </a:t>
            </a:r>
            <a:r>
              <a:rPr sz="6700" spc="335">
                <a:solidFill>
                  <a:srgbClr val="FFFFFF"/>
                </a:solidFill>
              </a:rPr>
              <a:t>digitalización</a:t>
            </a:r>
            <a:r>
              <a:rPr sz="6700" spc="-105">
                <a:solidFill>
                  <a:srgbClr val="FFFFFF"/>
                </a:solidFill>
              </a:rPr>
              <a:t> </a:t>
            </a:r>
            <a:r>
              <a:rPr sz="6700" b="0" i="0" spc="-25">
                <a:solidFill>
                  <a:srgbClr val="FFFFFF"/>
                </a:solidFill>
                <a:latin typeface="Telefonica Sans Light"/>
                <a:cs typeface="Telefonica Sans Light"/>
              </a:rPr>
              <a:t>con </a:t>
            </a:r>
            <a:r>
              <a:rPr sz="6700" b="0" i="0">
                <a:solidFill>
                  <a:srgbClr val="FFFFFF"/>
                </a:solidFill>
                <a:latin typeface="Telefonica Sans Light"/>
                <a:cs typeface="Telefonica Sans Light"/>
              </a:rPr>
              <a:t>los</a:t>
            </a:r>
            <a:r>
              <a:rPr sz="6700" b="0" i="0" spc="-100">
                <a:solidFill>
                  <a:srgbClr val="FFFFFF"/>
                </a:solidFill>
                <a:latin typeface="Telefonica Sans Light"/>
                <a:cs typeface="Telefonica Sans Light"/>
              </a:rPr>
              <a:t> </a:t>
            </a:r>
            <a:r>
              <a:rPr sz="6700" b="0" i="0">
                <a:solidFill>
                  <a:srgbClr val="FFFFFF"/>
                </a:solidFill>
                <a:latin typeface="Telefonica Sans Light"/>
                <a:cs typeface="Telefonica Sans Light"/>
              </a:rPr>
              <a:t>Fondos</a:t>
            </a:r>
            <a:r>
              <a:rPr sz="6700" b="0" i="0" spc="-95">
                <a:solidFill>
                  <a:srgbClr val="FFFFFF"/>
                </a:solidFill>
                <a:latin typeface="Telefonica Sans Light"/>
                <a:cs typeface="Telefonica Sans Light"/>
              </a:rPr>
              <a:t> </a:t>
            </a:r>
            <a:r>
              <a:rPr sz="6700" b="0" i="0" spc="-10">
                <a:solidFill>
                  <a:srgbClr val="FFFFFF"/>
                </a:solidFill>
                <a:latin typeface="Telefonica Sans Light"/>
                <a:cs typeface="Telefonica Sans Light"/>
              </a:rPr>
              <a:t>Europeos</a:t>
            </a:r>
            <a:endParaRPr sz="6700">
              <a:latin typeface="Telefonica Sans Light"/>
              <a:cs typeface="Telefonica Sans Light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346830" y="9140470"/>
            <a:ext cx="13868400" cy="146956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 indent="598805" algn="ctr">
              <a:lnSpc>
                <a:spcPct val="100800"/>
              </a:lnSpc>
              <a:spcBef>
                <a:spcPts val="90"/>
              </a:spcBef>
            </a:pPr>
            <a:r>
              <a:rPr sz="4800" b="1" err="1">
                <a:solidFill>
                  <a:srgbClr val="FFFFFF"/>
                </a:solidFill>
                <a:latin typeface="Telefonica Sans Light"/>
                <a:cs typeface="Telefonica Sans Light"/>
              </a:rPr>
              <a:t>Aprovecha</a:t>
            </a:r>
            <a:r>
              <a:rPr sz="4800" b="1" spc="-15">
                <a:solidFill>
                  <a:srgbClr val="FFFFFF"/>
                </a:solidFill>
                <a:latin typeface="Telefonica Sans Light"/>
                <a:cs typeface="Telefonica Sans Light"/>
              </a:rPr>
              <a:t> </a:t>
            </a:r>
            <a:r>
              <a:rPr sz="4800" b="1">
                <a:solidFill>
                  <a:srgbClr val="FFFFFF"/>
                </a:solidFill>
                <a:latin typeface="Telefonica Sans Light"/>
                <a:cs typeface="Telefonica Sans Light"/>
              </a:rPr>
              <a:t>la</a:t>
            </a:r>
            <a:r>
              <a:rPr sz="4800" b="1" spc="-15">
                <a:solidFill>
                  <a:srgbClr val="FFFFFF"/>
                </a:solidFill>
                <a:latin typeface="Telefonica Sans Light"/>
                <a:cs typeface="Telefonica Sans Light"/>
              </a:rPr>
              <a:t> </a:t>
            </a:r>
            <a:r>
              <a:rPr sz="4800" b="1" spc="-10" err="1">
                <a:solidFill>
                  <a:srgbClr val="FFFFFF"/>
                </a:solidFill>
                <a:latin typeface="Telefonica Sans DemiBold"/>
              </a:rPr>
              <a:t>oportunidad</a:t>
            </a:r>
            <a:r>
              <a:rPr sz="4800" b="1" spc="-10">
                <a:solidFill>
                  <a:srgbClr val="FFFFFF"/>
                </a:solidFill>
                <a:latin typeface="Telefonica Sans DemiBold"/>
              </a:rPr>
              <a:t> </a:t>
            </a:r>
            <a:r>
              <a:rPr sz="4800" b="0" i="1">
                <a:solidFill>
                  <a:srgbClr val="FFFFFF"/>
                </a:solidFill>
                <a:latin typeface="Telefonica Sans Light"/>
                <a:cs typeface="Telefonica Sans Light"/>
              </a:rPr>
              <a:t>y</a:t>
            </a:r>
            <a:r>
              <a:rPr sz="4800" b="0" i="1" spc="-85">
                <a:solidFill>
                  <a:srgbClr val="FFFFFF"/>
                </a:solidFill>
                <a:latin typeface="Telefonica Sans Light"/>
                <a:cs typeface="Telefonica Sans Light"/>
              </a:rPr>
              <a:t> </a:t>
            </a:r>
            <a:r>
              <a:rPr sz="4800" b="0" i="1" err="1">
                <a:solidFill>
                  <a:srgbClr val="FFFFFF"/>
                </a:solidFill>
                <a:latin typeface="Telefonica Sans Light"/>
                <a:cs typeface="Telefonica Sans Light"/>
              </a:rPr>
              <a:t>ayuda</a:t>
            </a:r>
            <a:r>
              <a:rPr sz="4800" b="0" i="1" spc="-15">
                <a:solidFill>
                  <a:srgbClr val="FFFFFF"/>
                </a:solidFill>
                <a:latin typeface="Telefonica Sans Light"/>
                <a:cs typeface="Telefonica Sans Light"/>
              </a:rPr>
              <a:t> </a:t>
            </a:r>
            <a:r>
              <a:rPr sz="4800" b="0" i="1" spc="-50">
                <a:solidFill>
                  <a:srgbClr val="FFFFFF"/>
                </a:solidFill>
                <a:latin typeface="Telefonica Sans Light"/>
                <a:cs typeface="Telefonica Sans Light"/>
              </a:rPr>
              <a:t>a </a:t>
            </a:r>
            <a:r>
              <a:rPr sz="4800" b="0" i="1" err="1">
                <a:solidFill>
                  <a:srgbClr val="FFFFFF"/>
                </a:solidFill>
                <a:latin typeface="Telefonica Sans Light"/>
                <a:cs typeface="Telefonica Sans Light"/>
              </a:rPr>
              <a:t>digitalizar</a:t>
            </a:r>
            <a:r>
              <a:rPr sz="4800" b="0" i="1" spc="-105">
                <a:solidFill>
                  <a:srgbClr val="FFFFFF"/>
                </a:solidFill>
                <a:latin typeface="Telefonica Sans Light"/>
                <a:cs typeface="Telefonica Sans Light"/>
              </a:rPr>
              <a:t> </a:t>
            </a:r>
            <a:r>
              <a:rPr sz="4800" b="0" i="1">
                <a:solidFill>
                  <a:srgbClr val="FFFFFF"/>
                </a:solidFill>
                <a:latin typeface="Telefonica Sans Light"/>
                <a:cs typeface="Telefonica Sans Light"/>
              </a:rPr>
              <a:t>a</a:t>
            </a:r>
            <a:r>
              <a:rPr sz="4800" b="0" i="1" spc="-90">
                <a:solidFill>
                  <a:srgbClr val="FFFFFF"/>
                </a:solidFill>
                <a:latin typeface="Telefonica Sans Light"/>
                <a:cs typeface="Telefonica Sans Light"/>
              </a:rPr>
              <a:t> </a:t>
            </a:r>
            <a:r>
              <a:rPr sz="4800" b="0" i="1" err="1">
                <a:solidFill>
                  <a:srgbClr val="FFFFFF"/>
                </a:solidFill>
                <a:latin typeface="Telefonica Sans Light"/>
                <a:cs typeface="Telefonica Sans Light"/>
              </a:rPr>
              <a:t>tus</a:t>
            </a:r>
            <a:r>
              <a:rPr sz="4800" b="0" i="1" spc="-20">
                <a:solidFill>
                  <a:srgbClr val="FFFFFF"/>
                </a:solidFill>
                <a:latin typeface="Telefonica Sans Light"/>
                <a:cs typeface="Telefonica Sans Light"/>
              </a:rPr>
              <a:t> </a:t>
            </a:r>
            <a:r>
              <a:rPr sz="4800" b="0" i="1" err="1">
                <a:solidFill>
                  <a:srgbClr val="FFFFFF"/>
                </a:solidFill>
                <a:latin typeface="Telefonica Sans Light"/>
                <a:cs typeface="Telefonica Sans Light"/>
              </a:rPr>
              <a:t>asociados</a:t>
            </a:r>
            <a:r>
              <a:rPr sz="4800" b="0" i="1" spc="-20">
                <a:solidFill>
                  <a:srgbClr val="FFFFFF"/>
                </a:solidFill>
                <a:latin typeface="Telefonica Sans Light"/>
                <a:cs typeface="Telefonica Sans Light"/>
              </a:rPr>
              <a:t> </a:t>
            </a:r>
            <a:r>
              <a:rPr sz="4800" b="0" i="1">
                <a:solidFill>
                  <a:srgbClr val="FFFFFF"/>
                </a:solidFill>
                <a:latin typeface="Telefonica Sans Light"/>
                <a:cs typeface="Telefonica Sans Light"/>
              </a:rPr>
              <a:t>con</a:t>
            </a:r>
            <a:r>
              <a:rPr sz="4800" b="0" i="1" spc="-15">
                <a:solidFill>
                  <a:srgbClr val="FFFFFF"/>
                </a:solidFill>
                <a:latin typeface="Telefonica Sans Light"/>
                <a:cs typeface="Telefonica Sans Light"/>
              </a:rPr>
              <a:t> </a:t>
            </a:r>
            <a:r>
              <a:rPr sz="4800" b="1" spc="-10">
                <a:solidFill>
                  <a:srgbClr val="FFFFFF"/>
                </a:solidFill>
                <a:latin typeface="Telefonica Sans DemiBold"/>
                <a:cs typeface="Telefonica Sans DemiBold"/>
              </a:rPr>
              <a:t>Telefónica</a:t>
            </a:r>
            <a:r>
              <a:rPr lang="es-ES" sz="4800" b="1" spc="-10">
                <a:solidFill>
                  <a:srgbClr val="FFFFFF"/>
                </a:solidFill>
                <a:latin typeface="Telefonica Sans DemiBold"/>
                <a:cs typeface="Telefonica Sans DemiBold"/>
              </a:rPr>
              <a:t> Empresas</a:t>
            </a:r>
            <a:r>
              <a:rPr sz="4800" b="1" spc="-10">
                <a:solidFill>
                  <a:srgbClr val="FFFFFF"/>
                </a:solidFill>
                <a:latin typeface="Telefonica Sans DemiBold"/>
                <a:cs typeface="Telefonica Sans DemiBold"/>
              </a:rPr>
              <a:t>.</a:t>
            </a:r>
            <a:endParaRPr sz="4800">
              <a:latin typeface="Telefonica Sans DemiBold"/>
              <a:cs typeface="Telefonica Sans DemiBold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17737286" y="1738270"/>
            <a:ext cx="2382520" cy="6822440"/>
            <a:chOff x="17737286" y="1738270"/>
            <a:chExt cx="2382520" cy="6822440"/>
          </a:xfrm>
        </p:grpSpPr>
        <p:sp>
          <p:nvSpPr>
            <p:cNvPr id="9" name="object 9"/>
            <p:cNvSpPr/>
            <p:nvPr/>
          </p:nvSpPr>
          <p:spPr>
            <a:xfrm>
              <a:off x="17752995" y="1749713"/>
              <a:ext cx="2351405" cy="2565400"/>
            </a:xfrm>
            <a:custGeom>
              <a:avLst/>
              <a:gdLst/>
              <a:ahLst/>
              <a:cxnLst/>
              <a:rect l="l" t="t" r="r" b="b"/>
              <a:pathLst>
                <a:path w="2351405" h="2565400">
                  <a:moveTo>
                    <a:pt x="1476309" y="2552700"/>
                  </a:moveTo>
                  <a:lnTo>
                    <a:pt x="1096617" y="2552700"/>
                  </a:lnTo>
                  <a:lnTo>
                    <a:pt x="1143354" y="2565400"/>
                  </a:lnTo>
                  <a:lnTo>
                    <a:pt x="1429572" y="2565400"/>
                  </a:lnTo>
                  <a:lnTo>
                    <a:pt x="1476309" y="2552700"/>
                  </a:lnTo>
                  <a:close/>
                </a:path>
                <a:path w="2351405" h="2565400">
                  <a:moveTo>
                    <a:pt x="1568147" y="25400"/>
                  </a:moveTo>
                  <a:lnTo>
                    <a:pt x="1004779" y="25400"/>
                  </a:lnTo>
                  <a:lnTo>
                    <a:pt x="871585" y="63500"/>
                  </a:lnTo>
                  <a:lnTo>
                    <a:pt x="828529" y="88900"/>
                  </a:lnTo>
                  <a:lnTo>
                    <a:pt x="744617" y="114300"/>
                  </a:lnTo>
                  <a:lnTo>
                    <a:pt x="703825" y="139700"/>
                  </a:lnTo>
                  <a:lnTo>
                    <a:pt x="663849" y="165100"/>
                  </a:lnTo>
                  <a:lnTo>
                    <a:pt x="624723" y="177800"/>
                  </a:lnTo>
                  <a:lnTo>
                    <a:pt x="586476" y="203200"/>
                  </a:lnTo>
                  <a:lnTo>
                    <a:pt x="549140" y="228600"/>
                  </a:lnTo>
                  <a:lnTo>
                    <a:pt x="512746" y="254000"/>
                  </a:lnTo>
                  <a:lnTo>
                    <a:pt x="477327" y="292100"/>
                  </a:lnTo>
                  <a:lnTo>
                    <a:pt x="442913" y="317500"/>
                  </a:lnTo>
                  <a:lnTo>
                    <a:pt x="409535" y="342900"/>
                  </a:lnTo>
                  <a:lnTo>
                    <a:pt x="377225" y="381000"/>
                  </a:lnTo>
                  <a:lnTo>
                    <a:pt x="346014" y="406400"/>
                  </a:lnTo>
                  <a:lnTo>
                    <a:pt x="315934" y="444500"/>
                  </a:lnTo>
                  <a:lnTo>
                    <a:pt x="287016" y="469900"/>
                  </a:lnTo>
                  <a:lnTo>
                    <a:pt x="259291" y="508000"/>
                  </a:lnTo>
                  <a:lnTo>
                    <a:pt x="232790" y="546100"/>
                  </a:lnTo>
                  <a:lnTo>
                    <a:pt x="207546" y="584200"/>
                  </a:lnTo>
                  <a:lnTo>
                    <a:pt x="183588" y="622300"/>
                  </a:lnTo>
                  <a:lnTo>
                    <a:pt x="160949" y="660400"/>
                  </a:lnTo>
                  <a:lnTo>
                    <a:pt x="139660" y="698500"/>
                  </a:lnTo>
                  <a:lnTo>
                    <a:pt x="119752" y="749300"/>
                  </a:lnTo>
                  <a:lnTo>
                    <a:pt x="101257" y="787400"/>
                  </a:lnTo>
                  <a:lnTo>
                    <a:pt x="84206" y="825500"/>
                  </a:lnTo>
                  <a:lnTo>
                    <a:pt x="68630" y="876300"/>
                  </a:lnTo>
                  <a:lnTo>
                    <a:pt x="54560" y="914400"/>
                  </a:lnTo>
                  <a:lnTo>
                    <a:pt x="42028" y="952500"/>
                  </a:lnTo>
                  <a:lnTo>
                    <a:pt x="31066" y="1003300"/>
                  </a:lnTo>
                  <a:lnTo>
                    <a:pt x="21704" y="1054100"/>
                  </a:lnTo>
                  <a:lnTo>
                    <a:pt x="13974" y="1092200"/>
                  </a:lnTo>
                  <a:lnTo>
                    <a:pt x="7907" y="1143000"/>
                  </a:lnTo>
                  <a:lnTo>
                    <a:pt x="3535" y="1193800"/>
                  </a:lnTo>
                  <a:lnTo>
                    <a:pt x="889" y="1231900"/>
                  </a:lnTo>
                  <a:lnTo>
                    <a:pt x="0" y="1282700"/>
                  </a:lnTo>
                  <a:lnTo>
                    <a:pt x="889" y="1333500"/>
                  </a:lnTo>
                  <a:lnTo>
                    <a:pt x="3535" y="1384300"/>
                  </a:lnTo>
                  <a:lnTo>
                    <a:pt x="7907" y="1422400"/>
                  </a:lnTo>
                  <a:lnTo>
                    <a:pt x="13974" y="1473200"/>
                  </a:lnTo>
                  <a:lnTo>
                    <a:pt x="21704" y="1524000"/>
                  </a:lnTo>
                  <a:lnTo>
                    <a:pt x="31066" y="1562100"/>
                  </a:lnTo>
                  <a:lnTo>
                    <a:pt x="42028" y="1612900"/>
                  </a:lnTo>
                  <a:lnTo>
                    <a:pt x="54560" y="1651000"/>
                  </a:lnTo>
                  <a:lnTo>
                    <a:pt x="68630" y="1701800"/>
                  </a:lnTo>
                  <a:lnTo>
                    <a:pt x="84206" y="1739900"/>
                  </a:lnTo>
                  <a:lnTo>
                    <a:pt x="101257" y="1790700"/>
                  </a:lnTo>
                  <a:lnTo>
                    <a:pt x="119752" y="1828800"/>
                  </a:lnTo>
                  <a:lnTo>
                    <a:pt x="139660" y="1866900"/>
                  </a:lnTo>
                  <a:lnTo>
                    <a:pt x="160949" y="1905000"/>
                  </a:lnTo>
                  <a:lnTo>
                    <a:pt x="183588" y="1943100"/>
                  </a:lnTo>
                  <a:lnTo>
                    <a:pt x="207546" y="1981200"/>
                  </a:lnTo>
                  <a:lnTo>
                    <a:pt x="232790" y="2019300"/>
                  </a:lnTo>
                  <a:lnTo>
                    <a:pt x="259291" y="2057400"/>
                  </a:lnTo>
                  <a:lnTo>
                    <a:pt x="287016" y="2095500"/>
                  </a:lnTo>
                  <a:lnTo>
                    <a:pt x="315934" y="2133600"/>
                  </a:lnTo>
                  <a:lnTo>
                    <a:pt x="346014" y="2159000"/>
                  </a:lnTo>
                  <a:lnTo>
                    <a:pt x="377225" y="2197100"/>
                  </a:lnTo>
                  <a:lnTo>
                    <a:pt x="409535" y="2222500"/>
                  </a:lnTo>
                  <a:lnTo>
                    <a:pt x="442913" y="2260600"/>
                  </a:lnTo>
                  <a:lnTo>
                    <a:pt x="477327" y="2286000"/>
                  </a:lnTo>
                  <a:lnTo>
                    <a:pt x="512746" y="2311400"/>
                  </a:lnTo>
                  <a:lnTo>
                    <a:pt x="549140" y="2336800"/>
                  </a:lnTo>
                  <a:lnTo>
                    <a:pt x="586476" y="2362200"/>
                  </a:lnTo>
                  <a:lnTo>
                    <a:pt x="624723" y="2387600"/>
                  </a:lnTo>
                  <a:lnTo>
                    <a:pt x="663849" y="2413000"/>
                  </a:lnTo>
                  <a:lnTo>
                    <a:pt x="703825" y="2438400"/>
                  </a:lnTo>
                  <a:lnTo>
                    <a:pt x="744617" y="2451100"/>
                  </a:lnTo>
                  <a:lnTo>
                    <a:pt x="786196" y="2476500"/>
                  </a:lnTo>
                  <a:lnTo>
                    <a:pt x="871585" y="2501900"/>
                  </a:lnTo>
                  <a:lnTo>
                    <a:pt x="1050415" y="2552700"/>
                  </a:lnTo>
                  <a:lnTo>
                    <a:pt x="1522511" y="2552700"/>
                  </a:lnTo>
                  <a:lnTo>
                    <a:pt x="1613184" y="2527300"/>
                  </a:lnTo>
                  <a:lnTo>
                    <a:pt x="1286463" y="2527300"/>
                  </a:lnTo>
                  <a:lnTo>
                    <a:pt x="1237990" y="2514600"/>
                  </a:lnTo>
                  <a:lnTo>
                    <a:pt x="1142479" y="2514600"/>
                  </a:lnTo>
                  <a:lnTo>
                    <a:pt x="1095511" y="2501900"/>
                  </a:lnTo>
                  <a:lnTo>
                    <a:pt x="1049113" y="2501900"/>
                  </a:lnTo>
                  <a:lnTo>
                    <a:pt x="869922" y="2451100"/>
                  </a:lnTo>
                  <a:lnTo>
                    <a:pt x="826897" y="2438400"/>
                  </a:lnTo>
                  <a:lnTo>
                    <a:pt x="784651" y="2413000"/>
                  </a:lnTo>
                  <a:lnTo>
                    <a:pt x="743218" y="2400300"/>
                  </a:lnTo>
                  <a:lnTo>
                    <a:pt x="702632" y="2374900"/>
                  </a:lnTo>
                  <a:lnTo>
                    <a:pt x="662929" y="2349500"/>
                  </a:lnTo>
                  <a:lnTo>
                    <a:pt x="624144" y="2324100"/>
                  </a:lnTo>
                  <a:lnTo>
                    <a:pt x="586309" y="2298700"/>
                  </a:lnTo>
                  <a:lnTo>
                    <a:pt x="549461" y="2273300"/>
                  </a:lnTo>
                  <a:lnTo>
                    <a:pt x="513634" y="2247900"/>
                  </a:lnTo>
                  <a:lnTo>
                    <a:pt x="478863" y="2222500"/>
                  </a:lnTo>
                  <a:lnTo>
                    <a:pt x="445181" y="2184400"/>
                  </a:lnTo>
                  <a:lnTo>
                    <a:pt x="412624" y="2159000"/>
                  </a:lnTo>
                  <a:lnTo>
                    <a:pt x="381227" y="2120900"/>
                  </a:lnTo>
                  <a:lnTo>
                    <a:pt x="351024" y="2095500"/>
                  </a:lnTo>
                  <a:lnTo>
                    <a:pt x="322049" y="2057400"/>
                  </a:lnTo>
                  <a:lnTo>
                    <a:pt x="294338" y="2019300"/>
                  </a:lnTo>
                  <a:lnTo>
                    <a:pt x="267924" y="1981200"/>
                  </a:lnTo>
                  <a:lnTo>
                    <a:pt x="242844" y="1943100"/>
                  </a:lnTo>
                  <a:lnTo>
                    <a:pt x="219130" y="1905000"/>
                  </a:lnTo>
                  <a:lnTo>
                    <a:pt x="196818" y="1866900"/>
                  </a:lnTo>
                  <a:lnTo>
                    <a:pt x="175943" y="1828800"/>
                  </a:lnTo>
                  <a:lnTo>
                    <a:pt x="156538" y="1790700"/>
                  </a:lnTo>
                  <a:lnTo>
                    <a:pt x="138639" y="1739900"/>
                  </a:lnTo>
                  <a:lnTo>
                    <a:pt x="122281" y="1701800"/>
                  </a:lnTo>
                  <a:lnTo>
                    <a:pt x="107497" y="1663700"/>
                  </a:lnTo>
                  <a:lnTo>
                    <a:pt x="94323" y="1612900"/>
                  </a:lnTo>
                  <a:lnTo>
                    <a:pt x="82794" y="1562100"/>
                  </a:lnTo>
                  <a:lnTo>
                    <a:pt x="72943" y="1524000"/>
                  </a:lnTo>
                  <a:lnTo>
                    <a:pt x="64805" y="1473200"/>
                  </a:lnTo>
                  <a:lnTo>
                    <a:pt x="58416" y="1435100"/>
                  </a:lnTo>
                  <a:lnTo>
                    <a:pt x="53809" y="1384300"/>
                  </a:lnTo>
                  <a:lnTo>
                    <a:pt x="51019" y="1333500"/>
                  </a:lnTo>
                  <a:lnTo>
                    <a:pt x="50082" y="1282700"/>
                  </a:lnTo>
                  <a:lnTo>
                    <a:pt x="51019" y="1231900"/>
                  </a:lnTo>
                  <a:lnTo>
                    <a:pt x="53809" y="1193800"/>
                  </a:lnTo>
                  <a:lnTo>
                    <a:pt x="58416" y="1143000"/>
                  </a:lnTo>
                  <a:lnTo>
                    <a:pt x="64805" y="1092200"/>
                  </a:lnTo>
                  <a:lnTo>
                    <a:pt x="72943" y="1054100"/>
                  </a:lnTo>
                  <a:lnTo>
                    <a:pt x="82794" y="1003300"/>
                  </a:lnTo>
                  <a:lnTo>
                    <a:pt x="94323" y="952500"/>
                  </a:lnTo>
                  <a:lnTo>
                    <a:pt x="107497" y="914400"/>
                  </a:lnTo>
                  <a:lnTo>
                    <a:pt x="122281" y="863600"/>
                  </a:lnTo>
                  <a:lnTo>
                    <a:pt x="138639" y="825500"/>
                  </a:lnTo>
                  <a:lnTo>
                    <a:pt x="156538" y="787400"/>
                  </a:lnTo>
                  <a:lnTo>
                    <a:pt x="175943" y="736600"/>
                  </a:lnTo>
                  <a:lnTo>
                    <a:pt x="196818" y="698500"/>
                  </a:lnTo>
                  <a:lnTo>
                    <a:pt x="219130" y="660400"/>
                  </a:lnTo>
                  <a:lnTo>
                    <a:pt x="242844" y="622300"/>
                  </a:lnTo>
                  <a:lnTo>
                    <a:pt x="267924" y="584200"/>
                  </a:lnTo>
                  <a:lnTo>
                    <a:pt x="294338" y="546100"/>
                  </a:lnTo>
                  <a:lnTo>
                    <a:pt x="322049" y="508000"/>
                  </a:lnTo>
                  <a:lnTo>
                    <a:pt x="351024" y="482600"/>
                  </a:lnTo>
                  <a:lnTo>
                    <a:pt x="381227" y="444500"/>
                  </a:lnTo>
                  <a:lnTo>
                    <a:pt x="412624" y="406400"/>
                  </a:lnTo>
                  <a:lnTo>
                    <a:pt x="445181" y="381000"/>
                  </a:lnTo>
                  <a:lnTo>
                    <a:pt x="478863" y="355600"/>
                  </a:lnTo>
                  <a:lnTo>
                    <a:pt x="513634" y="317500"/>
                  </a:lnTo>
                  <a:lnTo>
                    <a:pt x="549461" y="292100"/>
                  </a:lnTo>
                  <a:lnTo>
                    <a:pt x="586309" y="266700"/>
                  </a:lnTo>
                  <a:lnTo>
                    <a:pt x="624144" y="241300"/>
                  </a:lnTo>
                  <a:lnTo>
                    <a:pt x="662929" y="215900"/>
                  </a:lnTo>
                  <a:lnTo>
                    <a:pt x="702632" y="190500"/>
                  </a:lnTo>
                  <a:lnTo>
                    <a:pt x="743218" y="177800"/>
                  </a:lnTo>
                  <a:lnTo>
                    <a:pt x="784651" y="152400"/>
                  </a:lnTo>
                  <a:lnTo>
                    <a:pt x="869922" y="127000"/>
                  </a:lnTo>
                  <a:lnTo>
                    <a:pt x="913690" y="101600"/>
                  </a:lnTo>
                  <a:lnTo>
                    <a:pt x="1003320" y="76200"/>
                  </a:lnTo>
                  <a:lnTo>
                    <a:pt x="1049113" y="76200"/>
                  </a:lnTo>
                  <a:lnTo>
                    <a:pt x="1095511" y="63500"/>
                  </a:lnTo>
                  <a:lnTo>
                    <a:pt x="1142479" y="63500"/>
                  </a:lnTo>
                  <a:lnTo>
                    <a:pt x="1189984" y="50800"/>
                  </a:lnTo>
                  <a:lnTo>
                    <a:pt x="1657593" y="50800"/>
                  </a:lnTo>
                  <a:lnTo>
                    <a:pt x="1568147" y="25400"/>
                  </a:lnTo>
                  <a:close/>
                </a:path>
                <a:path w="2351405" h="2565400">
                  <a:moveTo>
                    <a:pt x="2351104" y="1917700"/>
                  </a:moveTo>
                  <a:lnTo>
                    <a:pt x="2330085" y="1943100"/>
                  </a:lnTo>
                  <a:lnTo>
                    <a:pt x="2305004" y="1981200"/>
                  </a:lnTo>
                  <a:lnTo>
                    <a:pt x="2278591" y="2019300"/>
                  </a:lnTo>
                  <a:lnTo>
                    <a:pt x="2250880" y="2057400"/>
                  </a:lnTo>
                  <a:lnTo>
                    <a:pt x="2221906" y="2095500"/>
                  </a:lnTo>
                  <a:lnTo>
                    <a:pt x="2191703" y="2120900"/>
                  </a:lnTo>
                  <a:lnTo>
                    <a:pt x="2160305" y="2159000"/>
                  </a:lnTo>
                  <a:lnTo>
                    <a:pt x="2127749" y="2184400"/>
                  </a:lnTo>
                  <a:lnTo>
                    <a:pt x="2094068" y="2222500"/>
                  </a:lnTo>
                  <a:lnTo>
                    <a:pt x="2059296" y="2247900"/>
                  </a:lnTo>
                  <a:lnTo>
                    <a:pt x="2023469" y="2273300"/>
                  </a:lnTo>
                  <a:lnTo>
                    <a:pt x="1986621" y="2298700"/>
                  </a:lnTo>
                  <a:lnTo>
                    <a:pt x="1948787" y="2324100"/>
                  </a:lnTo>
                  <a:lnTo>
                    <a:pt x="1910001" y="2349500"/>
                  </a:lnTo>
                  <a:lnTo>
                    <a:pt x="1870298" y="2374900"/>
                  </a:lnTo>
                  <a:lnTo>
                    <a:pt x="1829713" y="2400300"/>
                  </a:lnTo>
                  <a:lnTo>
                    <a:pt x="1788280" y="2413000"/>
                  </a:lnTo>
                  <a:lnTo>
                    <a:pt x="1746033" y="2438400"/>
                  </a:lnTo>
                  <a:lnTo>
                    <a:pt x="1703008" y="2451100"/>
                  </a:lnTo>
                  <a:lnTo>
                    <a:pt x="1523816" y="2501900"/>
                  </a:lnTo>
                  <a:lnTo>
                    <a:pt x="1477418" y="2501900"/>
                  </a:lnTo>
                  <a:lnTo>
                    <a:pt x="1430449" y="2514600"/>
                  </a:lnTo>
                  <a:lnTo>
                    <a:pt x="1334937" y="2514600"/>
                  </a:lnTo>
                  <a:lnTo>
                    <a:pt x="1286463" y="2527300"/>
                  </a:lnTo>
                  <a:lnTo>
                    <a:pt x="1613184" y="2527300"/>
                  </a:lnTo>
                  <a:lnTo>
                    <a:pt x="1786730" y="2476500"/>
                  </a:lnTo>
                  <a:lnTo>
                    <a:pt x="1828308" y="2451100"/>
                  </a:lnTo>
                  <a:lnTo>
                    <a:pt x="1869101" y="2438400"/>
                  </a:lnTo>
                  <a:lnTo>
                    <a:pt x="1909076" y="2413000"/>
                  </a:lnTo>
                  <a:lnTo>
                    <a:pt x="1948203" y="2387600"/>
                  </a:lnTo>
                  <a:lnTo>
                    <a:pt x="1986450" y="2362200"/>
                  </a:lnTo>
                  <a:lnTo>
                    <a:pt x="2023786" y="2336800"/>
                  </a:lnTo>
                  <a:lnTo>
                    <a:pt x="2060180" y="2311400"/>
                  </a:lnTo>
                  <a:lnTo>
                    <a:pt x="2095599" y="2286000"/>
                  </a:lnTo>
                  <a:lnTo>
                    <a:pt x="2130013" y="2260600"/>
                  </a:lnTo>
                  <a:lnTo>
                    <a:pt x="2163391" y="2222500"/>
                  </a:lnTo>
                  <a:lnTo>
                    <a:pt x="2195701" y="2197100"/>
                  </a:lnTo>
                  <a:lnTo>
                    <a:pt x="2226912" y="2159000"/>
                  </a:lnTo>
                  <a:lnTo>
                    <a:pt x="2256992" y="2133600"/>
                  </a:lnTo>
                  <a:lnTo>
                    <a:pt x="2285910" y="2095500"/>
                  </a:lnTo>
                  <a:lnTo>
                    <a:pt x="2313635" y="2057400"/>
                  </a:lnTo>
                  <a:lnTo>
                    <a:pt x="2340136" y="2019300"/>
                  </a:lnTo>
                  <a:lnTo>
                    <a:pt x="2351104" y="2006600"/>
                  </a:lnTo>
                  <a:lnTo>
                    <a:pt x="2351104" y="1917700"/>
                  </a:lnTo>
                  <a:close/>
                </a:path>
                <a:path w="2351405" h="2565400">
                  <a:moveTo>
                    <a:pt x="1657593" y="50800"/>
                  </a:moveTo>
                  <a:lnTo>
                    <a:pt x="1382943" y="50800"/>
                  </a:lnTo>
                  <a:lnTo>
                    <a:pt x="1430449" y="63500"/>
                  </a:lnTo>
                  <a:lnTo>
                    <a:pt x="1477418" y="63500"/>
                  </a:lnTo>
                  <a:lnTo>
                    <a:pt x="1523816" y="76200"/>
                  </a:lnTo>
                  <a:lnTo>
                    <a:pt x="1569609" y="76200"/>
                  </a:lnTo>
                  <a:lnTo>
                    <a:pt x="1659240" y="101600"/>
                  </a:lnTo>
                  <a:lnTo>
                    <a:pt x="1703008" y="127000"/>
                  </a:lnTo>
                  <a:lnTo>
                    <a:pt x="1788280" y="152400"/>
                  </a:lnTo>
                  <a:lnTo>
                    <a:pt x="1829713" y="177800"/>
                  </a:lnTo>
                  <a:lnTo>
                    <a:pt x="1870298" y="190500"/>
                  </a:lnTo>
                  <a:lnTo>
                    <a:pt x="1910001" y="215900"/>
                  </a:lnTo>
                  <a:lnTo>
                    <a:pt x="1948787" y="241300"/>
                  </a:lnTo>
                  <a:lnTo>
                    <a:pt x="1986621" y="266700"/>
                  </a:lnTo>
                  <a:lnTo>
                    <a:pt x="2023469" y="292100"/>
                  </a:lnTo>
                  <a:lnTo>
                    <a:pt x="2059296" y="317500"/>
                  </a:lnTo>
                  <a:lnTo>
                    <a:pt x="2094068" y="355600"/>
                  </a:lnTo>
                  <a:lnTo>
                    <a:pt x="2127749" y="381000"/>
                  </a:lnTo>
                  <a:lnTo>
                    <a:pt x="2160305" y="406400"/>
                  </a:lnTo>
                  <a:lnTo>
                    <a:pt x="2191703" y="444500"/>
                  </a:lnTo>
                  <a:lnTo>
                    <a:pt x="2221906" y="482600"/>
                  </a:lnTo>
                  <a:lnTo>
                    <a:pt x="2250880" y="508000"/>
                  </a:lnTo>
                  <a:lnTo>
                    <a:pt x="2278591" y="546100"/>
                  </a:lnTo>
                  <a:lnTo>
                    <a:pt x="2305004" y="584200"/>
                  </a:lnTo>
                  <a:lnTo>
                    <a:pt x="2330085" y="622300"/>
                  </a:lnTo>
                  <a:lnTo>
                    <a:pt x="2351104" y="660400"/>
                  </a:lnTo>
                  <a:lnTo>
                    <a:pt x="2351104" y="558800"/>
                  </a:lnTo>
                  <a:lnTo>
                    <a:pt x="2340136" y="546100"/>
                  </a:lnTo>
                  <a:lnTo>
                    <a:pt x="2313635" y="508000"/>
                  </a:lnTo>
                  <a:lnTo>
                    <a:pt x="2285910" y="469900"/>
                  </a:lnTo>
                  <a:lnTo>
                    <a:pt x="2256992" y="444500"/>
                  </a:lnTo>
                  <a:lnTo>
                    <a:pt x="2226912" y="406400"/>
                  </a:lnTo>
                  <a:lnTo>
                    <a:pt x="2195701" y="381000"/>
                  </a:lnTo>
                  <a:lnTo>
                    <a:pt x="2163391" y="342900"/>
                  </a:lnTo>
                  <a:lnTo>
                    <a:pt x="2130013" y="317500"/>
                  </a:lnTo>
                  <a:lnTo>
                    <a:pt x="2095599" y="292100"/>
                  </a:lnTo>
                  <a:lnTo>
                    <a:pt x="2060180" y="254000"/>
                  </a:lnTo>
                  <a:lnTo>
                    <a:pt x="2023786" y="228600"/>
                  </a:lnTo>
                  <a:lnTo>
                    <a:pt x="1986450" y="203200"/>
                  </a:lnTo>
                  <a:lnTo>
                    <a:pt x="1948203" y="177800"/>
                  </a:lnTo>
                  <a:lnTo>
                    <a:pt x="1909076" y="165100"/>
                  </a:lnTo>
                  <a:lnTo>
                    <a:pt x="1869101" y="139700"/>
                  </a:lnTo>
                  <a:lnTo>
                    <a:pt x="1828308" y="114300"/>
                  </a:lnTo>
                  <a:lnTo>
                    <a:pt x="1744397" y="88900"/>
                  </a:lnTo>
                  <a:lnTo>
                    <a:pt x="1701341" y="63500"/>
                  </a:lnTo>
                  <a:lnTo>
                    <a:pt x="1657593" y="50800"/>
                  </a:lnTo>
                  <a:close/>
                </a:path>
                <a:path w="2351405" h="2565400">
                  <a:moveTo>
                    <a:pt x="1476309" y="12700"/>
                  </a:moveTo>
                  <a:lnTo>
                    <a:pt x="1096617" y="12700"/>
                  </a:lnTo>
                  <a:lnTo>
                    <a:pt x="1050415" y="25400"/>
                  </a:lnTo>
                  <a:lnTo>
                    <a:pt x="1522511" y="25400"/>
                  </a:lnTo>
                  <a:lnTo>
                    <a:pt x="1476309" y="12700"/>
                  </a:lnTo>
                  <a:close/>
                </a:path>
                <a:path w="2351405" h="2565400">
                  <a:moveTo>
                    <a:pt x="1382331" y="0"/>
                  </a:moveTo>
                  <a:lnTo>
                    <a:pt x="1190595" y="0"/>
                  </a:lnTo>
                  <a:lnTo>
                    <a:pt x="1143354" y="12700"/>
                  </a:lnTo>
                  <a:lnTo>
                    <a:pt x="1429572" y="12700"/>
                  </a:lnTo>
                  <a:lnTo>
                    <a:pt x="1382331" y="0"/>
                  </a:lnTo>
                  <a:close/>
                </a:path>
              </a:pathLst>
            </a:custGeom>
            <a:solidFill>
              <a:srgbClr val="0066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7752995" y="1742196"/>
              <a:ext cx="2351405" cy="2573020"/>
            </a:xfrm>
            <a:custGeom>
              <a:avLst/>
              <a:gdLst/>
              <a:ahLst/>
              <a:cxnLst/>
              <a:rect l="l" t="t" r="r" b="b"/>
              <a:pathLst>
                <a:path w="2351405" h="2573020">
                  <a:moveTo>
                    <a:pt x="2351104" y="658513"/>
                  </a:moveTo>
                  <a:lnTo>
                    <a:pt x="2330085" y="624134"/>
                  </a:lnTo>
                  <a:lnTo>
                    <a:pt x="2305004" y="586300"/>
                  </a:lnTo>
                  <a:lnTo>
                    <a:pt x="2278591" y="549452"/>
                  </a:lnTo>
                  <a:lnTo>
                    <a:pt x="2250880" y="513625"/>
                  </a:lnTo>
                  <a:lnTo>
                    <a:pt x="2221906" y="478854"/>
                  </a:lnTo>
                  <a:lnTo>
                    <a:pt x="2191703" y="445173"/>
                  </a:lnTo>
                  <a:lnTo>
                    <a:pt x="2160305" y="412617"/>
                  </a:lnTo>
                  <a:lnTo>
                    <a:pt x="2127749" y="381220"/>
                  </a:lnTo>
                  <a:lnTo>
                    <a:pt x="2094068" y="351017"/>
                  </a:lnTo>
                  <a:lnTo>
                    <a:pt x="2059296" y="322043"/>
                  </a:lnTo>
                  <a:lnTo>
                    <a:pt x="2023469" y="294332"/>
                  </a:lnTo>
                  <a:lnTo>
                    <a:pt x="1986621" y="267919"/>
                  </a:lnTo>
                  <a:lnTo>
                    <a:pt x="1948787" y="242838"/>
                  </a:lnTo>
                  <a:lnTo>
                    <a:pt x="1910001" y="219125"/>
                  </a:lnTo>
                  <a:lnTo>
                    <a:pt x="1870298" y="196814"/>
                  </a:lnTo>
                  <a:lnTo>
                    <a:pt x="1829713" y="175939"/>
                  </a:lnTo>
                  <a:lnTo>
                    <a:pt x="1788280" y="156535"/>
                  </a:lnTo>
                  <a:lnTo>
                    <a:pt x="1746033" y="138637"/>
                  </a:lnTo>
                  <a:lnTo>
                    <a:pt x="1703008" y="122279"/>
                  </a:lnTo>
                  <a:lnTo>
                    <a:pt x="1659240" y="107495"/>
                  </a:lnTo>
                  <a:lnTo>
                    <a:pt x="1614761" y="94322"/>
                  </a:lnTo>
                  <a:lnTo>
                    <a:pt x="1569609" y="82792"/>
                  </a:lnTo>
                  <a:lnTo>
                    <a:pt x="1523816" y="72942"/>
                  </a:lnTo>
                  <a:lnTo>
                    <a:pt x="1477418" y="64804"/>
                  </a:lnTo>
                  <a:lnTo>
                    <a:pt x="1430449" y="58415"/>
                  </a:lnTo>
                  <a:lnTo>
                    <a:pt x="1382943" y="53809"/>
                  </a:lnTo>
                  <a:lnTo>
                    <a:pt x="1334937" y="51019"/>
                  </a:lnTo>
                  <a:lnTo>
                    <a:pt x="1286463" y="50082"/>
                  </a:lnTo>
                  <a:lnTo>
                    <a:pt x="1237990" y="51019"/>
                  </a:lnTo>
                  <a:lnTo>
                    <a:pt x="1189984" y="53809"/>
                  </a:lnTo>
                  <a:lnTo>
                    <a:pt x="1142479" y="58415"/>
                  </a:lnTo>
                  <a:lnTo>
                    <a:pt x="1095511" y="64804"/>
                  </a:lnTo>
                  <a:lnTo>
                    <a:pt x="1049113" y="72942"/>
                  </a:lnTo>
                  <a:lnTo>
                    <a:pt x="1003320" y="82792"/>
                  </a:lnTo>
                  <a:lnTo>
                    <a:pt x="958168" y="94322"/>
                  </a:lnTo>
                  <a:lnTo>
                    <a:pt x="913690" y="107495"/>
                  </a:lnTo>
                  <a:lnTo>
                    <a:pt x="869922" y="122279"/>
                  </a:lnTo>
                  <a:lnTo>
                    <a:pt x="826897" y="138637"/>
                  </a:lnTo>
                  <a:lnTo>
                    <a:pt x="784651" y="156535"/>
                  </a:lnTo>
                  <a:lnTo>
                    <a:pt x="743218" y="175939"/>
                  </a:lnTo>
                  <a:lnTo>
                    <a:pt x="702632" y="196814"/>
                  </a:lnTo>
                  <a:lnTo>
                    <a:pt x="662929" y="219125"/>
                  </a:lnTo>
                  <a:lnTo>
                    <a:pt x="624144" y="242838"/>
                  </a:lnTo>
                  <a:lnTo>
                    <a:pt x="586309" y="267919"/>
                  </a:lnTo>
                  <a:lnTo>
                    <a:pt x="549461" y="294332"/>
                  </a:lnTo>
                  <a:lnTo>
                    <a:pt x="513634" y="322043"/>
                  </a:lnTo>
                  <a:lnTo>
                    <a:pt x="478863" y="351017"/>
                  </a:lnTo>
                  <a:lnTo>
                    <a:pt x="445181" y="381220"/>
                  </a:lnTo>
                  <a:lnTo>
                    <a:pt x="412624" y="412617"/>
                  </a:lnTo>
                  <a:lnTo>
                    <a:pt x="381227" y="445173"/>
                  </a:lnTo>
                  <a:lnTo>
                    <a:pt x="351024" y="478854"/>
                  </a:lnTo>
                  <a:lnTo>
                    <a:pt x="322049" y="513625"/>
                  </a:lnTo>
                  <a:lnTo>
                    <a:pt x="294338" y="549452"/>
                  </a:lnTo>
                  <a:lnTo>
                    <a:pt x="267924" y="586300"/>
                  </a:lnTo>
                  <a:lnTo>
                    <a:pt x="242844" y="624134"/>
                  </a:lnTo>
                  <a:lnTo>
                    <a:pt x="219130" y="662920"/>
                  </a:lnTo>
                  <a:lnTo>
                    <a:pt x="196818" y="702623"/>
                  </a:lnTo>
                  <a:lnTo>
                    <a:pt x="175943" y="743209"/>
                  </a:lnTo>
                  <a:lnTo>
                    <a:pt x="156538" y="784642"/>
                  </a:lnTo>
                  <a:lnTo>
                    <a:pt x="138639" y="826888"/>
                  </a:lnTo>
                  <a:lnTo>
                    <a:pt x="122281" y="869913"/>
                  </a:lnTo>
                  <a:lnTo>
                    <a:pt x="107497" y="913682"/>
                  </a:lnTo>
                  <a:lnTo>
                    <a:pt x="94323" y="958161"/>
                  </a:lnTo>
                  <a:lnTo>
                    <a:pt x="82794" y="1003314"/>
                  </a:lnTo>
                  <a:lnTo>
                    <a:pt x="72943" y="1049107"/>
                  </a:lnTo>
                  <a:lnTo>
                    <a:pt x="64805" y="1095506"/>
                  </a:lnTo>
                  <a:lnTo>
                    <a:pt x="58416" y="1142475"/>
                  </a:lnTo>
                  <a:lnTo>
                    <a:pt x="53809" y="1189981"/>
                  </a:lnTo>
                  <a:lnTo>
                    <a:pt x="51019" y="1237989"/>
                  </a:lnTo>
                  <a:lnTo>
                    <a:pt x="50082" y="1286463"/>
                  </a:lnTo>
                  <a:lnTo>
                    <a:pt x="51019" y="1334936"/>
                  </a:lnTo>
                  <a:lnTo>
                    <a:pt x="53809" y="1382942"/>
                  </a:lnTo>
                  <a:lnTo>
                    <a:pt x="58416" y="1430446"/>
                  </a:lnTo>
                  <a:lnTo>
                    <a:pt x="64805" y="1477415"/>
                  </a:lnTo>
                  <a:lnTo>
                    <a:pt x="72943" y="1523812"/>
                  </a:lnTo>
                  <a:lnTo>
                    <a:pt x="82794" y="1569604"/>
                  </a:lnTo>
                  <a:lnTo>
                    <a:pt x="94323" y="1614756"/>
                  </a:lnTo>
                  <a:lnTo>
                    <a:pt x="107497" y="1659234"/>
                  </a:lnTo>
                  <a:lnTo>
                    <a:pt x="122281" y="1703002"/>
                  </a:lnTo>
                  <a:lnTo>
                    <a:pt x="138639" y="1746026"/>
                  </a:lnTo>
                  <a:lnTo>
                    <a:pt x="156538" y="1788272"/>
                  </a:lnTo>
                  <a:lnTo>
                    <a:pt x="175943" y="1829704"/>
                  </a:lnTo>
                  <a:lnTo>
                    <a:pt x="196818" y="1870289"/>
                  </a:lnTo>
                  <a:lnTo>
                    <a:pt x="219130" y="1909991"/>
                  </a:lnTo>
                  <a:lnTo>
                    <a:pt x="242844" y="1948776"/>
                  </a:lnTo>
                  <a:lnTo>
                    <a:pt x="267924" y="1986610"/>
                  </a:lnTo>
                  <a:lnTo>
                    <a:pt x="294338" y="2023457"/>
                  </a:lnTo>
                  <a:lnTo>
                    <a:pt x="322049" y="2059284"/>
                  </a:lnTo>
                  <a:lnTo>
                    <a:pt x="351024" y="2094054"/>
                  </a:lnTo>
                  <a:lnTo>
                    <a:pt x="381227" y="2127735"/>
                  </a:lnTo>
                  <a:lnTo>
                    <a:pt x="412624" y="2160291"/>
                  </a:lnTo>
                  <a:lnTo>
                    <a:pt x="445181" y="2191688"/>
                  </a:lnTo>
                  <a:lnTo>
                    <a:pt x="478863" y="2221890"/>
                  </a:lnTo>
                  <a:lnTo>
                    <a:pt x="513634" y="2250864"/>
                  </a:lnTo>
                  <a:lnTo>
                    <a:pt x="549461" y="2278575"/>
                  </a:lnTo>
                  <a:lnTo>
                    <a:pt x="586309" y="2304987"/>
                  </a:lnTo>
                  <a:lnTo>
                    <a:pt x="624144" y="2330067"/>
                  </a:lnTo>
                  <a:lnTo>
                    <a:pt x="662929" y="2353780"/>
                  </a:lnTo>
                  <a:lnTo>
                    <a:pt x="702632" y="2376092"/>
                  </a:lnTo>
                  <a:lnTo>
                    <a:pt x="743218" y="2396967"/>
                  </a:lnTo>
                  <a:lnTo>
                    <a:pt x="784651" y="2416370"/>
                  </a:lnTo>
                  <a:lnTo>
                    <a:pt x="826897" y="2434269"/>
                  </a:lnTo>
                  <a:lnTo>
                    <a:pt x="869922" y="2450627"/>
                  </a:lnTo>
                  <a:lnTo>
                    <a:pt x="913690" y="2465410"/>
                  </a:lnTo>
                  <a:lnTo>
                    <a:pt x="958168" y="2478583"/>
                  </a:lnTo>
                  <a:lnTo>
                    <a:pt x="1003320" y="2490113"/>
                  </a:lnTo>
                  <a:lnTo>
                    <a:pt x="1049113" y="2499963"/>
                  </a:lnTo>
                  <a:lnTo>
                    <a:pt x="1095511" y="2508100"/>
                  </a:lnTo>
                  <a:lnTo>
                    <a:pt x="1142479" y="2514490"/>
                  </a:lnTo>
                  <a:lnTo>
                    <a:pt x="1189984" y="2519096"/>
                  </a:lnTo>
                  <a:lnTo>
                    <a:pt x="1237990" y="2521886"/>
                  </a:lnTo>
                  <a:lnTo>
                    <a:pt x="1286463" y="2522823"/>
                  </a:lnTo>
                  <a:lnTo>
                    <a:pt x="1334937" y="2521886"/>
                  </a:lnTo>
                  <a:lnTo>
                    <a:pt x="1382943" y="2519096"/>
                  </a:lnTo>
                  <a:lnTo>
                    <a:pt x="1430449" y="2514490"/>
                  </a:lnTo>
                  <a:lnTo>
                    <a:pt x="1477418" y="2508100"/>
                  </a:lnTo>
                  <a:lnTo>
                    <a:pt x="1523816" y="2499963"/>
                  </a:lnTo>
                  <a:lnTo>
                    <a:pt x="1569609" y="2490113"/>
                  </a:lnTo>
                  <a:lnTo>
                    <a:pt x="1614761" y="2478583"/>
                  </a:lnTo>
                  <a:lnTo>
                    <a:pt x="1659240" y="2465410"/>
                  </a:lnTo>
                  <a:lnTo>
                    <a:pt x="1703008" y="2450627"/>
                  </a:lnTo>
                  <a:lnTo>
                    <a:pt x="1746033" y="2434269"/>
                  </a:lnTo>
                  <a:lnTo>
                    <a:pt x="1788280" y="2416370"/>
                  </a:lnTo>
                  <a:lnTo>
                    <a:pt x="1829713" y="2396967"/>
                  </a:lnTo>
                  <a:lnTo>
                    <a:pt x="1870298" y="2376092"/>
                  </a:lnTo>
                  <a:lnTo>
                    <a:pt x="1910001" y="2353780"/>
                  </a:lnTo>
                  <a:lnTo>
                    <a:pt x="1948787" y="2330067"/>
                  </a:lnTo>
                  <a:lnTo>
                    <a:pt x="1986621" y="2304987"/>
                  </a:lnTo>
                  <a:lnTo>
                    <a:pt x="2023469" y="2278575"/>
                  </a:lnTo>
                  <a:lnTo>
                    <a:pt x="2059296" y="2250864"/>
                  </a:lnTo>
                  <a:lnTo>
                    <a:pt x="2094068" y="2221890"/>
                  </a:lnTo>
                  <a:lnTo>
                    <a:pt x="2127749" y="2191688"/>
                  </a:lnTo>
                  <a:lnTo>
                    <a:pt x="2160305" y="2160291"/>
                  </a:lnTo>
                  <a:lnTo>
                    <a:pt x="2191703" y="2127735"/>
                  </a:lnTo>
                  <a:lnTo>
                    <a:pt x="2221906" y="2094054"/>
                  </a:lnTo>
                  <a:lnTo>
                    <a:pt x="2250880" y="2059284"/>
                  </a:lnTo>
                  <a:lnTo>
                    <a:pt x="2278591" y="2023457"/>
                  </a:lnTo>
                  <a:lnTo>
                    <a:pt x="2305004" y="1986610"/>
                  </a:lnTo>
                  <a:lnTo>
                    <a:pt x="2330085" y="1948776"/>
                  </a:lnTo>
                  <a:lnTo>
                    <a:pt x="2351104" y="1914398"/>
                  </a:lnTo>
                </a:path>
                <a:path w="2351405" h="2573020">
                  <a:moveTo>
                    <a:pt x="2351104" y="2007561"/>
                  </a:moveTo>
                  <a:lnTo>
                    <a:pt x="2313635" y="2060176"/>
                  </a:lnTo>
                  <a:lnTo>
                    <a:pt x="2285910" y="2095595"/>
                  </a:lnTo>
                  <a:lnTo>
                    <a:pt x="2256992" y="2130009"/>
                  </a:lnTo>
                  <a:lnTo>
                    <a:pt x="2226912" y="2163386"/>
                  </a:lnTo>
                  <a:lnTo>
                    <a:pt x="2195701" y="2195696"/>
                  </a:lnTo>
                  <a:lnTo>
                    <a:pt x="2163391" y="2226906"/>
                  </a:lnTo>
                  <a:lnTo>
                    <a:pt x="2130013" y="2256986"/>
                  </a:lnTo>
                  <a:lnTo>
                    <a:pt x="2095599" y="2285904"/>
                  </a:lnTo>
                  <a:lnTo>
                    <a:pt x="2060180" y="2313629"/>
                  </a:lnTo>
                  <a:lnTo>
                    <a:pt x="2023786" y="2340129"/>
                  </a:lnTo>
                  <a:lnTo>
                    <a:pt x="1986450" y="2365373"/>
                  </a:lnTo>
                  <a:lnTo>
                    <a:pt x="1948203" y="2389330"/>
                  </a:lnTo>
                  <a:lnTo>
                    <a:pt x="1909076" y="2411969"/>
                  </a:lnTo>
                  <a:lnTo>
                    <a:pt x="1869101" y="2433258"/>
                  </a:lnTo>
                  <a:lnTo>
                    <a:pt x="1828308" y="2453165"/>
                  </a:lnTo>
                  <a:lnTo>
                    <a:pt x="1786730" y="2471660"/>
                  </a:lnTo>
                  <a:lnTo>
                    <a:pt x="1744397" y="2488711"/>
                  </a:lnTo>
                  <a:lnTo>
                    <a:pt x="1701341" y="2504287"/>
                  </a:lnTo>
                  <a:lnTo>
                    <a:pt x="1657593" y="2518356"/>
                  </a:lnTo>
                  <a:lnTo>
                    <a:pt x="1613184" y="2530888"/>
                  </a:lnTo>
                  <a:lnTo>
                    <a:pt x="1568147" y="2541850"/>
                  </a:lnTo>
                  <a:lnTo>
                    <a:pt x="1522511" y="2551212"/>
                  </a:lnTo>
                  <a:lnTo>
                    <a:pt x="1476309" y="2558942"/>
                  </a:lnTo>
                  <a:lnTo>
                    <a:pt x="1429572" y="2565008"/>
                  </a:lnTo>
                  <a:lnTo>
                    <a:pt x="1382331" y="2569381"/>
                  </a:lnTo>
                  <a:lnTo>
                    <a:pt x="1334618" y="2572027"/>
                  </a:lnTo>
                  <a:lnTo>
                    <a:pt x="1286463" y="2572916"/>
                  </a:lnTo>
                  <a:lnTo>
                    <a:pt x="1238308" y="2572027"/>
                  </a:lnTo>
                  <a:lnTo>
                    <a:pt x="1190595" y="2569381"/>
                  </a:lnTo>
                  <a:lnTo>
                    <a:pt x="1143354" y="2565008"/>
                  </a:lnTo>
                  <a:lnTo>
                    <a:pt x="1096617" y="2558942"/>
                  </a:lnTo>
                  <a:lnTo>
                    <a:pt x="1050415" y="2551212"/>
                  </a:lnTo>
                  <a:lnTo>
                    <a:pt x="1004779" y="2541850"/>
                  </a:lnTo>
                  <a:lnTo>
                    <a:pt x="959742" y="2530888"/>
                  </a:lnTo>
                  <a:lnTo>
                    <a:pt x="915333" y="2518356"/>
                  </a:lnTo>
                  <a:lnTo>
                    <a:pt x="871585" y="2504287"/>
                  </a:lnTo>
                  <a:lnTo>
                    <a:pt x="828529" y="2488711"/>
                  </a:lnTo>
                  <a:lnTo>
                    <a:pt x="786196" y="2471660"/>
                  </a:lnTo>
                  <a:lnTo>
                    <a:pt x="744617" y="2453165"/>
                  </a:lnTo>
                  <a:lnTo>
                    <a:pt x="703825" y="2433258"/>
                  </a:lnTo>
                  <a:lnTo>
                    <a:pt x="663849" y="2411969"/>
                  </a:lnTo>
                  <a:lnTo>
                    <a:pt x="624723" y="2389330"/>
                  </a:lnTo>
                  <a:lnTo>
                    <a:pt x="586476" y="2365373"/>
                  </a:lnTo>
                  <a:lnTo>
                    <a:pt x="549140" y="2340129"/>
                  </a:lnTo>
                  <a:lnTo>
                    <a:pt x="512746" y="2313629"/>
                  </a:lnTo>
                  <a:lnTo>
                    <a:pt x="477327" y="2285904"/>
                  </a:lnTo>
                  <a:lnTo>
                    <a:pt x="442913" y="2256986"/>
                  </a:lnTo>
                  <a:lnTo>
                    <a:pt x="409535" y="2226906"/>
                  </a:lnTo>
                  <a:lnTo>
                    <a:pt x="377225" y="2195696"/>
                  </a:lnTo>
                  <a:lnTo>
                    <a:pt x="346014" y="2163386"/>
                  </a:lnTo>
                  <a:lnTo>
                    <a:pt x="315934" y="2130009"/>
                  </a:lnTo>
                  <a:lnTo>
                    <a:pt x="287016" y="2095595"/>
                  </a:lnTo>
                  <a:lnTo>
                    <a:pt x="259291" y="2060176"/>
                  </a:lnTo>
                  <a:lnTo>
                    <a:pt x="232790" y="2023783"/>
                  </a:lnTo>
                  <a:lnTo>
                    <a:pt x="207546" y="1986447"/>
                  </a:lnTo>
                  <a:lnTo>
                    <a:pt x="183588" y="1948200"/>
                  </a:lnTo>
                  <a:lnTo>
                    <a:pt x="160949" y="1909074"/>
                  </a:lnTo>
                  <a:lnTo>
                    <a:pt x="139660" y="1869099"/>
                  </a:lnTo>
                  <a:lnTo>
                    <a:pt x="119752" y="1828306"/>
                  </a:lnTo>
                  <a:lnTo>
                    <a:pt x="101257" y="1786728"/>
                  </a:lnTo>
                  <a:lnTo>
                    <a:pt x="84206" y="1744396"/>
                  </a:lnTo>
                  <a:lnTo>
                    <a:pt x="68630" y="1701340"/>
                  </a:lnTo>
                  <a:lnTo>
                    <a:pt x="54560" y="1657592"/>
                  </a:lnTo>
                  <a:lnTo>
                    <a:pt x="42028" y="1613184"/>
                  </a:lnTo>
                  <a:lnTo>
                    <a:pt x="31066" y="1568146"/>
                  </a:lnTo>
                  <a:lnTo>
                    <a:pt x="21704" y="1522511"/>
                  </a:lnTo>
                  <a:lnTo>
                    <a:pt x="13974" y="1476309"/>
                  </a:lnTo>
                  <a:lnTo>
                    <a:pt x="7907" y="1429572"/>
                  </a:lnTo>
                  <a:lnTo>
                    <a:pt x="3535" y="1382331"/>
                  </a:lnTo>
                  <a:lnTo>
                    <a:pt x="889" y="1334618"/>
                  </a:lnTo>
                  <a:lnTo>
                    <a:pt x="0" y="1286463"/>
                  </a:lnTo>
                  <a:lnTo>
                    <a:pt x="889" y="1238308"/>
                  </a:lnTo>
                  <a:lnTo>
                    <a:pt x="3535" y="1190594"/>
                  </a:lnTo>
                  <a:lnTo>
                    <a:pt x="7907" y="1143352"/>
                  </a:lnTo>
                  <a:lnTo>
                    <a:pt x="13974" y="1096614"/>
                  </a:lnTo>
                  <a:lnTo>
                    <a:pt x="21704" y="1050412"/>
                  </a:lnTo>
                  <a:lnTo>
                    <a:pt x="31066" y="1004776"/>
                  </a:lnTo>
                  <a:lnTo>
                    <a:pt x="42028" y="959738"/>
                  </a:lnTo>
                  <a:lnTo>
                    <a:pt x="54560" y="915329"/>
                  </a:lnTo>
                  <a:lnTo>
                    <a:pt x="68630" y="871581"/>
                  </a:lnTo>
                  <a:lnTo>
                    <a:pt x="84206" y="828525"/>
                  </a:lnTo>
                  <a:lnTo>
                    <a:pt x="101257" y="786192"/>
                  </a:lnTo>
                  <a:lnTo>
                    <a:pt x="119752" y="744613"/>
                  </a:lnTo>
                  <a:lnTo>
                    <a:pt x="139660" y="703820"/>
                  </a:lnTo>
                  <a:lnTo>
                    <a:pt x="160949" y="663845"/>
                  </a:lnTo>
                  <a:lnTo>
                    <a:pt x="183588" y="624718"/>
                  </a:lnTo>
                  <a:lnTo>
                    <a:pt x="207546" y="586471"/>
                  </a:lnTo>
                  <a:lnTo>
                    <a:pt x="232790" y="549135"/>
                  </a:lnTo>
                  <a:lnTo>
                    <a:pt x="259291" y="512742"/>
                  </a:lnTo>
                  <a:lnTo>
                    <a:pt x="287016" y="477322"/>
                  </a:lnTo>
                  <a:lnTo>
                    <a:pt x="315934" y="442908"/>
                  </a:lnTo>
                  <a:lnTo>
                    <a:pt x="346014" y="409531"/>
                  </a:lnTo>
                  <a:lnTo>
                    <a:pt x="377225" y="377221"/>
                  </a:lnTo>
                  <a:lnTo>
                    <a:pt x="409535" y="346010"/>
                  </a:lnTo>
                  <a:lnTo>
                    <a:pt x="442913" y="315931"/>
                  </a:lnTo>
                  <a:lnTo>
                    <a:pt x="477327" y="287012"/>
                  </a:lnTo>
                  <a:lnTo>
                    <a:pt x="512746" y="259288"/>
                  </a:lnTo>
                  <a:lnTo>
                    <a:pt x="549140" y="232787"/>
                  </a:lnTo>
                  <a:lnTo>
                    <a:pt x="586476" y="207543"/>
                  </a:lnTo>
                  <a:lnTo>
                    <a:pt x="624723" y="183586"/>
                  </a:lnTo>
                  <a:lnTo>
                    <a:pt x="663849" y="160947"/>
                  </a:lnTo>
                  <a:lnTo>
                    <a:pt x="703825" y="139658"/>
                  </a:lnTo>
                  <a:lnTo>
                    <a:pt x="744617" y="119751"/>
                  </a:lnTo>
                  <a:lnTo>
                    <a:pt x="786196" y="101256"/>
                  </a:lnTo>
                  <a:lnTo>
                    <a:pt x="828529" y="84204"/>
                  </a:lnTo>
                  <a:lnTo>
                    <a:pt x="871585" y="68628"/>
                  </a:lnTo>
                  <a:lnTo>
                    <a:pt x="915333" y="54559"/>
                  </a:lnTo>
                  <a:lnTo>
                    <a:pt x="959742" y="42028"/>
                  </a:lnTo>
                  <a:lnTo>
                    <a:pt x="1004779" y="31065"/>
                  </a:lnTo>
                  <a:lnTo>
                    <a:pt x="1050415" y="21704"/>
                  </a:lnTo>
                  <a:lnTo>
                    <a:pt x="1096617" y="13974"/>
                  </a:lnTo>
                  <a:lnTo>
                    <a:pt x="1143354" y="7907"/>
                  </a:lnTo>
                  <a:lnTo>
                    <a:pt x="1190595" y="3535"/>
                  </a:lnTo>
                  <a:lnTo>
                    <a:pt x="1238308" y="889"/>
                  </a:lnTo>
                  <a:lnTo>
                    <a:pt x="1286463" y="0"/>
                  </a:lnTo>
                  <a:lnTo>
                    <a:pt x="1334618" y="889"/>
                  </a:lnTo>
                  <a:lnTo>
                    <a:pt x="1382331" y="3535"/>
                  </a:lnTo>
                  <a:lnTo>
                    <a:pt x="1429572" y="7907"/>
                  </a:lnTo>
                  <a:lnTo>
                    <a:pt x="1476309" y="13974"/>
                  </a:lnTo>
                  <a:lnTo>
                    <a:pt x="1522511" y="21704"/>
                  </a:lnTo>
                  <a:lnTo>
                    <a:pt x="1568147" y="31065"/>
                  </a:lnTo>
                  <a:lnTo>
                    <a:pt x="1613184" y="42028"/>
                  </a:lnTo>
                  <a:lnTo>
                    <a:pt x="1657593" y="54559"/>
                  </a:lnTo>
                  <a:lnTo>
                    <a:pt x="1701341" y="68628"/>
                  </a:lnTo>
                  <a:lnTo>
                    <a:pt x="1744397" y="84204"/>
                  </a:lnTo>
                  <a:lnTo>
                    <a:pt x="1786730" y="101256"/>
                  </a:lnTo>
                  <a:lnTo>
                    <a:pt x="1828308" y="119751"/>
                  </a:lnTo>
                  <a:lnTo>
                    <a:pt x="1869101" y="139658"/>
                  </a:lnTo>
                  <a:lnTo>
                    <a:pt x="1909076" y="160947"/>
                  </a:lnTo>
                  <a:lnTo>
                    <a:pt x="1948203" y="183586"/>
                  </a:lnTo>
                  <a:lnTo>
                    <a:pt x="1986450" y="207543"/>
                  </a:lnTo>
                  <a:lnTo>
                    <a:pt x="2023786" y="232787"/>
                  </a:lnTo>
                  <a:lnTo>
                    <a:pt x="2060180" y="259288"/>
                  </a:lnTo>
                  <a:lnTo>
                    <a:pt x="2095599" y="287012"/>
                  </a:lnTo>
                  <a:lnTo>
                    <a:pt x="2130013" y="315931"/>
                  </a:lnTo>
                  <a:lnTo>
                    <a:pt x="2163391" y="346010"/>
                  </a:lnTo>
                  <a:lnTo>
                    <a:pt x="2195701" y="377221"/>
                  </a:lnTo>
                  <a:lnTo>
                    <a:pt x="2226912" y="409531"/>
                  </a:lnTo>
                  <a:lnTo>
                    <a:pt x="2256992" y="442908"/>
                  </a:lnTo>
                  <a:lnTo>
                    <a:pt x="2285910" y="477322"/>
                  </a:lnTo>
                  <a:lnTo>
                    <a:pt x="2313635" y="512742"/>
                  </a:lnTo>
                  <a:lnTo>
                    <a:pt x="2340136" y="549135"/>
                  </a:lnTo>
                  <a:lnTo>
                    <a:pt x="2351104" y="565356"/>
                  </a:lnTo>
                </a:path>
              </a:pathLst>
            </a:custGeom>
            <a:ln w="7853">
              <a:solidFill>
                <a:srgbClr val="0066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7752992" y="4728481"/>
              <a:ext cx="2351405" cy="3816350"/>
            </a:xfrm>
            <a:custGeom>
              <a:avLst/>
              <a:gdLst/>
              <a:ahLst/>
              <a:cxnLst/>
              <a:rect l="l" t="t" r="r" b="b"/>
              <a:pathLst>
                <a:path w="2351405" h="3816350">
                  <a:moveTo>
                    <a:pt x="202028" y="3815981"/>
                  </a:moveTo>
                  <a:lnTo>
                    <a:pt x="186303" y="3776100"/>
                  </a:lnTo>
                  <a:lnTo>
                    <a:pt x="170231" y="3733297"/>
                  </a:lnTo>
                  <a:lnTo>
                    <a:pt x="154840" y="3690167"/>
                  </a:lnTo>
                  <a:lnTo>
                    <a:pt x="140136" y="3646714"/>
                  </a:lnTo>
                  <a:lnTo>
                    <a:pt x="126125" y="3602947"/>
                  </a:lnTo>
                  <a:lnTo>
                    <a:pt x="112815" y="3558871"/>
                  </a:lnTo>
                  <a:lnTo>
                    <a:pt x="100211" y="3514493"/>
                  </a:lnTo>
                  <a:lnTo>
                    <a:pt x="88321" y="3469820"/>
                  </a:lnTo>
                  <a:lnTo>
                    <a:pt x="77151" y="3424858"/>
                  </a:lnTo>
                  <a:lnTo>
                    <a:pt x="66707" y="3379613"/>
                  </a:lnTo>
                  <a:lnTo>
                    <a:pt x="56995" y="3334093"/>
                  </a:lnTo>
                  <a:lnTo>
                    <a:pt x="48024" y="3288303"/>
                  </a:lnTo>
                  <a:lnTo>
                    <a:pt x="39798" y="3242251"/>
                  </a:lnTo>
                  <a:lnTo>
                    <a:pt x="32324" y="3195942"/>
                  </a:lnTo>
                  <a:lnTo>
                    <a:pt x="25610" y="3149383"/>
                  </a:lnTo>
                  <a:lnTo>
                    <a:pt x="19661" y="3102582"/>
                  </a:lnTo>
                  <a:lnTo>
                    <a:pt x="14484" y="3055543"/>
                  </a:lnTo>
                  <a:lnTo>
                    <a:pt x="10085" y="3008275"/>
                  </a:lnTo>
                  <a:lnTo>
                    <a:pt x="6472" y="2960782"/>
                  </a:lnTo>
                  <a:lnTo>
                    <a:pt x="3650" y="2913073"/>
                  </a:lnTo>
                  <a:lnTo>
                    <a:pt x="1626" y="2865153"/>
                  </a:lnTo>
                  <a:lnTo>
                    <a:pt x="407" y="2817029"/>
                  </a:lnTo>
                  <a:lnTo>
                    <a:pt x="0" y="2768708"/>
                  </a:lnTo>
                  <a:lnTo>
                    <a:pt x="407" y="2720386"/>
                  </a:lnTo>
                  <a:lnTo>
                    <a:pt x="1626" y="2672262"/>
                  </a:lnTo>
                  <a:lnTo>
                    <a:pt x="3650" y="2624343"/>
                  </a:lnTo>
                  <a:lnTo>
                    <a:pt x="6472" y="2576633"/>
                  </a:lnTo>
                  <a:lnTo>
                    <a:pt x="10085" y="2529141"/>
                  </a:lnTo>
                  <a:lnTo>
                    <a:pt x="14484" y="2481872"/>
                  </a:lnTo>
                  <a:lnTo>
                    <a:pt x="19661" y="2434834"/>
                  </a:lnTo>
                  <a:lnTo>
                    <a:pt x="25610" y="2388032"/>
                  </a:lnTo>
                  <a:lnTo>
                    <a:pt x="32324" y="2341474"/>
                  </a:lnTo>
                  <a:lnTo>
                    <a:pt x="39798" y="2295165"/>
                  </a:lnTo>
                  <a:lnTo>
                    <a:pt x="48024" y="2249112"/>
                  </a:lnTo>
                  <a:lnTo>
                    <a:pt x="56995" y="2203323"/>
                  </a:lnTo>
                  <a:lnTo>
                    <a:pt x="66707" y="2157802"/>
                  </a:lnTo>
                  <a:lnTo>
                    <a:pt x="77151" y="2112558"/>
                  </a:lnTo>
                  <a:lnTo>
                    <a:pt x="88321" y="2067595"/>
                  </a:lnTo>
                  <a:lnTo>
                    <a:pt x="100211" y="2022922"/>
                  </a:lnTo>
                  <a:lnTo>
                    <a:pt x="112815" y="1978544"/>
                  </a:lnTo>
                  <a:lnTo>
                    <a:pt x="126125" y="1934469"/>
                  </a:lnTo>
                  <a:lnTo>
                    <a:pt x="140136" y="1890701"/>
                  </a:lnTo>
                  <a:lnTo>
                    <a:pt x="154840" y="1847249"/>
                  </a:lnTo>
                  <a:lnTo>
                    <a:pt x="170231" y="1804118"/>
                  </a:lnTo>
                  <a:lnTo>
                    <a:pt x="186303" y="1761315"/>
                  </a:lnTo>
                  <a:lnTo>
                    <a:pt x="203049" y="1718847"/>
                  </a:lnTo>
                  <a:lnTo>
                    <a:pt x="220462" y="1676720"/>
                  </a:lnTo>
                  <a:lnTo>
                    <a:pt x="238537" y="1634941"/>
                  </a:lnTo>
                  <a:lnTo>
                    <a:pt x="257266" y="1593516"/>
                  </a:lnTo>
                  <a:lnTo>
                    <a:pt x="276643" y="1552452"/>
                  </a:lnTo>
                  <a:lnTo>
                    <a:pt x="296662" y="1511755"/>
                  </a:lnTo>
                  <a:lnTo>
                    <a:pt x="317315" y="1471431"/>
                  </a:lnTo>
                  <a:lnTo>
                    <a:pt x="338597" y="1431488"/>
                  </a:lnTo>
                  <a:lnTo>
                    <a:pt x="360501" y="1391932"/>
                  </a:lnTo>
                  <a:lnTo>
                    <a:pt x="383020" y="1352770"/>
                  </a:lnTo>
                  <a:lnTo>
                    <a:pt x="406148" y="1314007"/>
                  </a:lnTo>
                  <a:lnTo>
                    <a:pt x="429878" y="1275650"/>
                  </a:lnTo>
                  <a:lnTo>
                    <a:pt x="454204" y="1237707"/>
                  </a:lnTo>
                  <a:lnTo>
                    <a:pt x="479119" y="1200183"/>
                  </a:lnTo>
                  <a:lnTo>
                    <a:pt x="504617" y="1163085"/>
                  </a:lnTo>
                  <a:lnTo>
                    <a:pt x="530691" y="1126419"/>
                  </a:lnTo>
                  <a:lnTo>
                    <a:pt x="557334" y="1090193"/>
                  </a:lnTo>
                  <a:lnTo>
                    <a:pt x="584541" y="1054412"/>
                  </a:lnTo>
                  <a:lnTo>
                    <a:pt x="612305" y="1019083"/>
                  </a:lnTo>
                  <a:lnTo>
                    <a:pt x="640618" y="984213"/>
                  </a:lnTo>
                  <a:lnTo>
                    <a:pt x="669475" y="949809"/>
                  </a:lnTo>
                  <a:lnTo>
                    <a:pt x="698869" y="915875"/>
                  </a:lnTo>
                  <a:lnTo>
                    <a:pt x="728793" y="882421"/>
                  </a:lnTo>
                  <a:lnTo>
                    <a:pt x="759242" y="849451"/>
                  </a:lnTo>
                  <a:lnTo>
                    <a:pt x="790207" y="816972"/>
                  </a:lnTo>
                  <a:lnTo>
                    <a:pt x="821684" y="784991"/>
                  </a:lnTo>
                  <a:lnTo>
                    <a:pt x="853665" y="753514"/>
                  </a:lnTo>
                  <a:lnTo>
                    <a:pt x="886144" y="722548"/>
                  </a:lnTo>
                  <a:lnTo>
                    <a:pt x="919114" y="692100"/>
                  </a:lnTo>
                  <a:lnTo>
                    <a:pt x="952569" y="662176"/>
                  </a:lnTo>
                  <a:lnTo>
                    <a:pt x="986502" y="632782"/>
                  </a:lnTo>
                  <a:lnTo>
                    <a:pt x="1020907" y="603925"/>
                  </a:lnTo>
                  <a:lnTo>
                    <a:pt x="1055777" y="575611"/>
                  </a:lnTo>
                  <a:lnTo>
                    <a:pt x="1091105" y="547848"/>
                  </a:lnTo>
                  <a:lnTo>
                    <a:pt x="1126886" y="520641"/>
                  </a:lnTo>
                  <a:lnTo>
                    <a:pt x="1163112" y="493998"/>
                  </a:lnTo>
                  <a:lnTo>
                    <a:pt x="1199778" y="467924"/>
                  </a:lnTo>
                  <a:lnTo>
                    <a:pt x="1236876" y="442426"/>
                  </a:lnTo>
                  <a:lnTo>
                    <a:pt x="1274400" y="417511"/>
                  </a:lnTo>
                  <a:lnTo>
                    <a:pt x="1312343" y="393185"/>
                  </a:lnTo>
                  <a:lnTo>
                    <a:pt x="1350700" y="369455"/>
                  </a:lnTo>
                  <a:lnTo>
                    <a:pt x="1389463" y="346327"/>
                  </a:lnTo>
                  <a:lnTo>
                    <a:pt x="1428625" y="323808"/>
                  </a:lnTo>
                  <a:lnTo>
                    <a:pt x="1468182" y="301904"/>
                  </a:lnTo>
                  <a:lnTo>
                    <a:pt x="1508125" y="280622"/>
                  </a:lnTo>
                  <a:lnTo>
                    <a:pt x="1548448" y="259969"/>
                  </a:lnTo>
                  <a:lnTo>
                    <a:pt x="1589145" y="239950"/>
                  </a:lnTo>
                  <a:lnTo>
                    <a:pt x="1630209" y="220573"/>
                  </a:lnTo>
                  <a:lnTo>
                    <a:pt x="1671634" y="201844"/>
                  </a:lnTo>
                  <a:lnTo>
                    <a:pt x="1713414" y="183769"/>
                  </a:lnTo>
                  <a:lnTo>
                    <a:pt x="1755541" y="166356"/>
                  </a:lnTo>
                  <a:lnTo>
                    <a:pt x="1798009" y="149610"/>
                  </a:lnTo>
                  <a:lnTo>
                    <a:pt x="1840811" y="133538"/>
                  </a:lnTo>
                  <a:lnTo>
                    <a:pt x="1883942" y="118146"/>
                  </a:lnTo>
                  <a:lnTo>
                    <a:pt x="1927394" y="103442"/>
                  </a:lnTo>
                  <a:lnTo>
                    <a:pt x="1971162" y="89432"/>
                  </a:lnTo>
                  <a:lnTo>
                    <a:pt x="2015238" y="76122"/>
                  </a:lnTo>
                  <a:lnTo>
                    <a:pt x="2059615" y="63518"/>
                  </a:lnTo>
                  <a:lnTo>
                    <a:pt x="2104289" y="51628"/>
                  </a:lnTo>
                  <a:lnTo>
                    <a:pt x="2149251" y="40458"/>
                  </a:lnTo>
                  <a:lnTo>
                    <a:pt x="2194495" y="30013"/>
                  </a:lnTo>
                  <a:lnTo>
                    <a:pt x="2240016" y="20302"/>
                  </a:lnTo>
                  <a:lnTo>
                    <a:pt x="2285805" y="11330"/>
                  </a:lnTo>
                  <a:lnTo>
                    <a:pt x="2331858" y="3104"/>
                  </a:lnTo>
                  <a:lnTo>
                    <a:pt x="2351097" y="0"/>
                  </a:lnTo>
                </a:path>
              </a:pathLst>
            </a:custGeom>
            <a:ln w="31412">
              <a:solidFill>
                <a:srgbClr val="0066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/>
          <p:nvPr/>
        </p:nvSpPr>
        <p:spPr>
          <a:xfrm>
            <a:off x="0" y="-98611"/>
            <a:ext cx="20104100" cy="2324286"/>
          </a:xfrm>
          <a:custGeom>
            <a:avLst/>
            <a:gdLst/>
            <a:ahLst/>
            <a:cxnLst/>
            <a:rect l="l" t="t" r="r" b="b"/>
            <a:pathLst>
              <a:path w="20104100" h="507365">
                <a:moveTo>
                  <a:pt x="20104099" y="0"/>
                </a:moveTo>
                <a:lnTo>
                  <a:pt x="0" y="0"/>
                </a:lnTo>
                <a:lnTo>
                  <a:pt x="0" y="507303"/>
                </a:lnTo>
                <a:lnTo>
                  <a:pt x="20104099" y="507303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66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CE4A7795-3D6B-2517-88D8-0D3625B757EE}"/>
              </a:ext>
            </a:extLst>
          </p:cNvPr>
          <p:cNvSpPr txBox="1"/>
          <p:nvPr/>
        </p:nvSpPr>
        <p:spPr>
          <a:xfrm>
            <a:off x="-1377950" y="731101"/>
            <a:ext cx="22479000" cy="66486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549650" marR="2264410" algn="ctr">
              <a:lnSpc>
                <a:spcPct val="100600"/>
              </a:lnSpc>
              <a:tabLst>
                <a:tab pos="8724900" algn="l"/>
              </a:tabLst>
            </a:pPr>
            <a:r>
              <a:rPr lang="es-ES" sz="4400" i="1" dirty="0">
                <a:solidFill>
                  <a:schemeClr val="bg1"/>
                </a:solidFill>
                <a:latin typeface="Telefonica Sans DemiBold" panose="02000003020000060003" pitchFamily="50" charset="0"/>
              </a:rPr>
              <a:t>Acompaña a tu asociado en la fase inicial, con 3 sencillos pasos</a:t>
            </a:r>
            <a:endParaRPr sz="4400" i="1" dirty="0">
              <a:solidFill>
                <a:schemeClr val="bg1"/>
              </a:solidFill>
              <a:latin typeface="Telefonica Sans DemiBold" panose="02000003020000060003" pitchFamily="50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FAE6CA5F-62FC-DF46-61AF-AE98C8612C9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6153" r="6830" b="39173"/>
          <a:stretch/>
        </p:blipFill>
        <p:spPr>
          <a:xfrm>
            <a:off x="2460231" y="2496041"/>
            <a:ext cx="3488995" cy="3649490"/>
          </a:xfrm>
          <a:prstGeom prst="rect">
            <a:avLst/>
          </a:prstGeom>
        </p:spPr>
      </p:pic>
      <p:pic>
        <p:nvPicPr>
          <p:cNvPr id="3" name="Picture 5">
            <a:extLst>
              <a:ext uri="{FF2B5EF4-FFF2-40B4-BE49-F238E27FC236}">
                <a16:creationId xmlns:a16="http://schemas.microsoft.com/office/drawing/2014/main" id="{4F9D1D07-569E-98BD-9E5E-A8BE50FD167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530161" y="2906721"/>
            <a:ext cx="3113708" cy="3115907"/>
          </a:xfrm>
          <a:prstGeom prst="ellipse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223653DA-65EE-ACAD-48AA-06B3334A91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9457" y="2431735"/>
            <a:ext cx="3660473" cy="3872677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ADAC1849-2EE2-1FD9-F6DF-5C759ECA1B14}"/>
              </a:ext>
            </a:extLst>
          </p:cNvPr>
          <p:cNvSpPr txBox="1"/>
          <p:nvPr/>
        </p:nvSpPr>
        <p:spPr>
          <a:xfrm>
            <a:off x="1441450" y="7294106"/>
            <a:ext cx="424806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800">
                <a:latin typeface="Telefonica Sans Light" panose="02000003020000060003" pitchFamily="50" charset="0"/>
              </a:rPr>
              <a:t>Acompaña a tu asociado en el registro en </a:t>
            </a:r>
            <a:r>
              <a:rPr lang="es-ES" sz="2800" kern="1200">
                <a:solidFill>
                  <a:srgbClr val="000000"/>
                </a:solidFill>
                <a:latin typeface="Arial" panose="020B0604020202020204"/>
                <a:ea typeface="+mn-ea"/>
                <a:cs typeface="+mn-cs"/>
                <a:hlinkClick r:id="rId5"/>
              </a:rPr>
              <a:t>https://www.acelerapyme.gob.es/</a:t>
            </a:r>
            <a:endParaRPr lang="es-ES" sz="2800" kern="1200">
              <a:solidFill>
                <a:srgbClr val="000000"/>
              </a:solidFill>
              <a:latin typeface="Arial" panose="020B0604020202020204"/>
              <a:ea typeface="+mn-ea"/>
              <a:cs typeface="+mn-cs"/>
            </a:endParaRPr>
          </a:p>
          <a:p>
            <a:pPr algn="ctr"/>
            <a:r>
              <a:rPr lang="es-ES" sz="2800" kern="1200">
                <a:solidFill>
                  <a:srgbClr val="000000"/>
                </a:solidFill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282A0F57-1719-08C8-B304-6AA23FDD95A2}"/>
              </a:ext>
            </a:extLst>
          </p:cNvPr>
          <p:cNvSpPr txBox="1"/>
          <p:nvPr/>
        </p:nvSpPr>
        <p:spPr>
          <a:xfrm>
            <a:off x="7452415" y="7145438"/>
            <a:ext cx="558027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800">
                <a:latin typeface="Telefonica Sans Light" panose="02000003020000060003" pitchFamily="50" charset="0"/>
              </a:rPr>
              <a:t>Acompaña a tu asociado para realizar el test Diagnóstico Digital (10 minutos)</a:t>
            </a:r>
          </a:p>
          <a:p>
            <a:pPr algn="ctr"/>
            <a:r>
              <a:rPr kumimoji="0" lang="es-ES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5"/>
              </a:rPr>
              <a:t>https://www.acelerapyme.gob.es/</a:t>
            </a:r>
            <a:endParaRPr lang="es-ES" sz="2800">
              <a:latin typeface="Telefonica Sans Light" panose="02000003020000060003" pitchFamily="50" charset="0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90EC41D2-BA7E-0EFF-6CAE-E3ADA56FAC9E}"/>
              </a:ext>
            </a:extLst>
          </p:cNvPr>
          <p:cNvSpPr txBox="1"/>
          <p:nvPr/>
        </p:nvSpPr>
        <p:spPr>
          <a:xfrm>
            <a:off x="13174213" y="7145438"/>
            <a:ext cx="693623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800">
                <a:latin typeface="Telefonica Sans Light" panose="02000003020000060003" pitchFamily="50" charset="0"/>
              </a:rPr>
              <a:t>Recoge la información de tu asociado desde el entorno web que te facilita Telefónica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5412CEFD-DC8A-98A2-EA60-24FA5C66F152}"/>
              </a:ext>
            </a:extLst>
          </p:cNvPr>
          <p:cNvSpPr txBox="1"/>
          <p:nvPr/>
        </p:nvSpPr>
        <p:spPr>
          <a:xfrm>
            <a:off x="450850" y="6183748"/>
            <a:ext cx="70237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5400">
                <a:solidFill>
                  <a:schemeClr val="tx2"/>
                </a:solidFill>
                <a:latin typeface="Telefonica Sans Medium" panose="02000003020000060003" pitchFamily="50" charset="0"/>
              </a:rPr>
              <a:t>1. </a:t>
            </a:r>
            <a:r>
              <a:rPr lang="es-ES" sz="4000">
                <a:solidFill>
                  <a:schemeClr val="tx2"/>
                </a:solidFill>
                <a:latin typeface="Telefonica Sans Medium" panose="02000003020000060003" pitchFamily="50" charset="0"/>
              </a:rPr>
              <a:t>Registro Acelera pyme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D80FB133-3210-7E8B-C930-8CC5637377D2}"/>
              </a:ext>
            </a:extLst>
          </p:cNvPr>
          <p:cNvSpPr txBox="1"/>
          <p:nvPr/>
        </p:nvSpPr>
        <p:spPr>
          <a:xfrm>
            <a:off x="7290159" y="6183748"/>
            <a:ext cx="59392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7063" indent="-627063"/>
            <a:r>
              <a:rPr lang="es-ES" sz="5400" dirty="0">
                <a:solidFill>
                  <a:schemeClr val="tx2"/>
                </a:solidFill>
                <a:latin typeface="Telefonica Sans Medium" panose="02000003020000060003" pitchFamily="50" charset="0"/>
              </a:rPr>
              <a:t>2. </a:t>
            </a:r>
            <a:r>
              <a:rPr lang="es-ES" sz="4000" dirty="0">
                <a:solidFill>
                  <a:schemeClr val="tx2"/>
                </a:solidFill>
                <a:latin typeface="Telefonica Sans Medium" panose="02000003020000060003" pitchFamily="50" charset="0"/>
              </a:rPr>
              <a:t>Test madurez digital 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DAB88BB2-C647-74FC-61A0-EF8BF70DC789}"/>
              </a:ext>
            </a:extLst>
          </p:cNvPr>
          <p:cNvSpPr txBox="1"/>
          <p:nvPr/>
        </p:nvSpPr>
        <p:spPr>
          <a:xfrm>
            <a:off x="13479006" y="6183748"/>
            <a:ext cx="60920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5400">
                <a:solidFill>
                  <a:schemeClr val="tx2"/>
                </a:solidFill>
                <a:latin typeface="Telefonica Sans Medium" panose="02000003020000060003" pitchFamily="50" charset="0"/>
              </a:rPr>
              <a:t>3. </a:t>
            </a:r>
            <a:r>
              <a:rPr lang="es-ES" sz="4000">
                <a:solidFill>
                  <a:schemeClr val="tx2"/>
                </a:solidFill>
                <a:latin typeface="Telefonica Sans Medium" panose="02000003020000060003" pitchFamily="50" charset="0"/>
              </a:rPr>
              <a:t>Recopilación de datos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28F985FE-3135-34A5-46FC-A1B5B9676658}"/>
              </a:ext>
            </a:extLst>
          </p:cNvPr>
          <p:cNvSpPr/>
          <p:nvPr/>
        </p:nvSpPr>
        <p:spPr>
          <a:xfrm>
            <a:off x="0" y="9451280"/>
            <a:ext cx="20104100" cy="13849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3600">
                <a:solidFill>
                  <a:srgbClr val="0066FF"/>
                </a:solidFill>
                <a:latin typeface="Telefonica Sans" panose="02000003020000060003" pitchFamily="50" charset="0"/>
                <a:cs typeface="Calibri Light"/>
              </a:rPr>
              <a:t>En un entorno personalizado para la Asociación y sus asociados.</a:t>
            </a:r>
            <a:endParaRPr kumimoji="0" lang="es-ES" sz="3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fonica Sans" panose="02000003020000060003" pitchFamily="50" charset="0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1A2CD7AB-E31A-56F3-FA84-230C9675E265}"/>
              </a:ext>
            </a:extLst>
          </p:cNvPr>
          <p:cNvSpPr txBox="1"/>
          <p:nvPr/>
        </p:nvSpPr>
        <p:spPr>
          <a:xfrm>
            <a:off x="15081250" y="10912475"/>
            <a:ext cx="112402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600" i="1">
                <a:solidFill>
                  <a:schemeClr val="bg1">
                    <a:lumMod val="50000"/>
                  </a:schemeClr>
                </a:solidFill>
              </a:rPr>
              <a:t>En Anexos podéis ver todos los pasos a seguir</a:t>
            </a:r>
          </a:p>
        </p:txBody>
      </p:sp>
    </p:spTree>
    <p:extLst>
      <p:ext uri="{BB962C8B-B14F-4D97-AF65-F5344CB8AC3E}">
        <p14:creationId xmlns:p14="http://schemas.microsoft.com/office/powerpoint/2010/main" val="16099089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>
            <a:extLst>
              <a:ext uri="{FF2B5EF4-FFF2-40B4-BE49-F238E27FC236}">
                <a16:creationId xmlns:a16="http://schemas.microsoft.com/office/drawing/2014/main" id="{6F35BC84-C337-6117-65CB-0BF2302DEC8E}"/>
              </a:ext>
            </a:extLst>
          </p:cNvPr>
          <p:cNvSpPr/>
          <p:nvPr/>
        </p:nvSpPr>
        <p:spPr>
          <a:xfrm>
            <a:off x="691078" y="1772948"/>
            <a:ext cx="5936250" cy="85308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" sz="2968" kern="12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6088CBEE-6148-4B18-82AC-4C04C17835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1502884">
              <a:lnSpc>
                <a:spcPct val="100000"/>
              </a:lnSpc>
              <a:spcBef>
                <a:spcPts val="0"/>
              </a:spcBef>
              <a:defRPr/>
            </a:pPr>
            <a:r>
              <a:rPr lang="es-ES">
                <a:solidFill>
                  <a:srgbClr val="0066FF"/>
                </a:solidFill>
                <a:latin typeface="Arial" panose="020B0604020202020204"/>
                <a:ea typeface="+mn-ea"/>
                <a:cs typeface="Calibri" panose="020F0502020204030204" pitchFamily="34" charset="0"/>
              </a:rPr>
              <a:t>En un entorno web personalizado para la Asociación</a:t>
            </a:r>
            <a:endParaRPr lang="es-ES">
              <a:solidFill>
                <a:srgbClr val="586179"/>
              </a:solidFill>
              <a:latin typeface="Arial" panose="020B0604020202020204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0A5A0BE7-5353-790D-2A7D-7580BED4F8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8903" y="3547431"/>
            <a:ext cx="4632318" cy="3596400"/>
          </a:xfrm>
          <a:prstGeom prst="rect">
            <a:avLst/>
          </a:prstGeom>
        </p:spPr>
      </p:pic>
      <p:sp>
        <p:nvSpPr>
          <p:cNvPr id="4" name="Elipse 3">
            <a:extLst>
              <a:ext uri="{FF2B5EF4-FFF2-40B4-BE49-F238E27FC236}">
                <a16:creationId xmlns:a16="http://schemas.microsoft.com/office/drawing/2014/main" id="{A70999F0-1D23-FC82-26C7-D11B4EF7A39B}"/>
              </a:ext>
            </a:extLst>
          </p:cNvPr>
          <p:cNvSpPr/>
          <p:nvPr/>
        </p:nvSpPr>
        <p:spPr>
          <a:xfrm>
            <a:off x="954949" y="2324371"/>
            <a:ext cx="587252" cy="60546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" sz="2968" kern="1200">
              <a:solidFill>
                <a:srgbClr val="FFFFFF"/>
              </a:solidFill>
              <a:latin typeface="Telefonica Sans" panose="02000003020000060003" pitchFamily="50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846974D1-C8C1-1451-EE0A-AF29F358F2E4}"/>
              </a:ext>
            </a:extLst>
          </p:cNvPr>
          <p:cNvSpPr txBox="1"/>
          <p:nvPr/>
        </p:nvSpPr>
        <p:spPr>
          <a:xfrm>
            <a:off x="1645851" y="1968924"/>
            <a:ext cx="3882777" cy="14625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" sz="2968" b="1" kern="1200">
                <a:solidFill>
                  <a:srgbClr val="586179"/>
                </a:solidFill>
                <a:latin typeface="Telefonica Sans" panose="02000003020000060003" pitchFamily="50" charset="0"/>
                <a:ea typeface="+mn-ea"/>
                <a:cs typeface="+mn-cs"/>
              </a:rPr>
              <a:t>Acceso</a:t>
            </a:r>
            <a:r>
              <a:rPr lang="es-ES" sz="2968" kern="1200">
                <a:solidFill>
                  <a:srgbClr val="586179"/>
                </a:solidFill>
                <a:latin typeface="Telefonica Sans" panose="02000003020000060003" pitchFamily="50" charset="0"/>
                <a:ea typeface="+mn-ea"/>
                <a:cs typeface="+mn-cs"/>
              </a:rPr>
              <a:t> a los paquetes y </a:t>
            </a:r>
            <a:r>
              <a:rPr lang="es-ES" sz="2968" b="1" kern="1200">
                <a:solidFill>
                  <a:srgbClr val="586179"/>
                </a:solidFill>
                <a:latin typeface="Telefonica Sans" panose="02000003020000060003" pitchFamily="50" charset="0"/>
                <a:ea typeface="+mn-ea"/>
                <a:cs typeface="+mn-cs"/>
              </a:rPr>
              <a:t>detalle</a:t>
            </a:r>
            <a:r>
              <a:rPr lang="es-ES" sz="2968" kern="1200">
                <a:solidFill>
                  <a:srgbClr val="586179"/>
                </a:solidFill>
                <a:latin typeface="Telefonica Sans" panose="02000003020000060003" pitchFamily="50" charset="0"/>
                <a:ea typeface="+mn-ea"/>
                <a:cs typeface="+mn-cs"/>
              </a:rPr>
              <a:t> de la </a:t>
            </a:r>
            <a:r>
              <a:rPr lang="es-ES" sz="2968" b="1" kern="1200">
                <a:solidFill>
                  <a:srgbClr val="0066FF"/>
                </a:solidFill>
                <a:latin typeface="Telefonica Sans" panose="02000003020000060003" pitchFamily="50" charset="0"/>
                <a:ea typeface="+mn-ea"/>
                <a:cs typeface="+mn-cs"/>
              </a:rPr>
              <a:t>oferta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123E6D54-9B29-EB9B-E3D7-BA3C5404AB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5903" y="7325739"/>
            <a:ext cx="4858316" cy="2796099"/>
          </a:xfrm>
          <a:prstGeom prst="rect">
            <a:avLst/>
          </a:prstGeom>
        </p:spPr>
      </p:pic>
      <p:sp>
        <p:nvSpPr>
          <p:cNvPr id="7" name="Elipse 6">
            <a:extLst>
              <a:ext uri="{FF2B5EF4-FFF2-40B4-BE49-F238E27FC236}">
                <a16:creationId xmlns:a16="http://schemas.microsoft.com/office/drawing/2014/main" id="{C48EAC7F-3CC7-A14F-FD1F-8678C44F0658}"/>
              </a:ext>
            </a:extLst>
          </p:cNvPr>
          <p:cNvSpPr/>
          <p:nvPr/>
        </p:nvSpPr>
        <p:spPr>
          <a:xfrm>
            <a:off x="7197806" y="2374575"/>
            <a:ext cx="587252" cy="60546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" sz="2968" kern="1200">
              <a:solidFill>
                <a:srgbClr val="FFFFFF"/>
              </a:solidFill>
              <a:latin typeface="Telefonica Sans" panose="02000003020000060003" pitchFamily="50" charset="0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445300AF-B52C-B84A-970D-0B34D552400B}"/>
              </a:ext>
            </a:extLst>
          </p:cNvPr>
          <p:cNvSpPr txBox="1"/>
          <p:nvPr/>
        </p:nvSpPr>
        <p:spPr>
          <a:xfrm>
            <a:off x="7888708" y="2019128"/>
            <a:ext cx="4217846" cy="14625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" sz="2968" b="1" kern="1200" dirty="0">
                <a:solidFill>
                  <a:srgbClr val="0066FF"/>
                </a:solidFill>
                <a:latin typeface="Telefonica Sans" panose="02000003020000060003" pitchFamily="50" charset="0"/>
                <a:ea typeface="+mn-ea"/>
                <a:cs typeface="+mn-cs"/>
              </a:rPr>
              <a:t>Operativa</a:t>
            </a:r>
            <a:r>
              <a:rPr lang="es-ES" sz="2968" kern="1200" dirty="0">
                <a:solidFill>
                  <a:srgbClr val="586179"/>
                </a:solidFill>
                <a:latin typeface="Telefonica Sans" panose="02000003020000060003" pitchFamily="50" charset="0"/>
                <a:ea typeface="+mn-ea"/>
                <a:cs typeface="+mn-cs"/>
              </a:rPr>
              <a:t> </a:t>
            </a:r>
            <a:r>
              <a:rPr lang="es-ES" sz="2968" b="1" kern="1200" dirty="0">
                <a:solidFill>
                  <a:srgbClr val="586179"/>
                </a:solidFill>
                <a:latin typeface="Telefonica Sans" panose="02000003020000060003" pitchFamily="50" charset="0"/>
                <a:ea typeface="+mn-ea"/>
                <a:cs typeface="+mn-cs"/>
              </a:rPr>
              <a:t>sencilla y guiada</a:t>
            </a:r>
            <a:r>
              <a:rPr lang="es-ES" sz="2968" kern="1200" dirty="0">
                <a:solidFill>
                  <a:srgbClr val="586179"/>
                </a:solidFill>
                <a:latin typeface="Telefonica Sans" panose="02000003020000060003" pitchFamily="50" charset="0"/>
                <a:ea typeface="+mn-ea"/>
                <a:cs typeface="+mn-cs"/>
              </a:rPr>
              <a:t>, apoyada con </a:t>
            </a:r>
            <a:r>
              <a:rPr lang="es-ES" sz="2968" b="1" kern="1200" dirty="0">
                <a:solidFill>
                  <a:srgbClr val="0066FF"/>
                </a:solidFill>
                <a:latin typeface="Telefonica Sans" panose="02000003020000060003" pitchFamily="50" charset="0"/>
                <a:ea typeface="+mn-ea"/>
                <a:cs typeface="+mn-cs"/>
              </a:rPr>
              <a:t>soporte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BE259475-7287-7031-0282-63E2C5EB45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20510" y="4023673"/>
            <a:ext cx="5554239" cy="2643918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9A91A5C3-A9A7-D4F9-1EF9-E7B8C6A12A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57355" y="7118882"/>
            <a:ext cx="5554241" cy="2287041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8B9CDC81-A4B8-DDDA-D4D5-55AA107A0C4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374421" y="4273642"/>
            <a:ext cx="2606759" cy="4145344"/>
          </a:xfrm>
          <a:prstGeom prst="rect">
            <a:avLst/>
          </a:prstGeom>
        </p:spPr>
      </p:pic>
      <p:sp>
        <p:nvSpPr>
          <p:cNvPr id="12" name="Elipse 11">
            <a:extLst>
              <a:ext uri="{FF2B5EF4-FFF2-40B4-BE49-F238E27FC236}">
                <a16:creationId xmlns:a16="http://schemas.microsoft.com/office/drawing/2014/main" id="{F927CD8C-1DAB-6D66-15E1-5EA0768CA794}"/>
              </a:ext>
            </a:extLst>
          </p:cNvPr>
          <p:cNvSpPr/>
          <p:nvPr/>
        </p:nvSpPr>
        <p:spPr>
          <a:xfrm>
            <a:off x="13583438" y="2324371"/>
            <a:ext cx="587252" cy="60546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" sz="2968" kern="1200">
              <a:solidFill>
                <a:srgbClr val="FFFFFF"/>
              </a:solidFill>
              <a:latin typeface="Telefonica Sans" panose="02000003020000060003" pitchFamily="50" charset="0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015BDFC8-3CE7-672A-56B2-0DBFA14EB923}"/>
              </a:ext>
            </a:extLst>
          </p:cNvPr>
          <p:cNvSpPr txBox="1"/>
          <p:nvPr/>
        </p:nvSpPr>
        <p:spPr>
          <a:xfrm>
            <a:off x="14274341" y="1968924"/>
            <a:ext cx="5035521" cy="14625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507846" rtl="0">
              <a:defRPr/>
            </a:pPr>
            <a:r>
              <a:rPr lang="es-ES" sz="2968" b="1" kern="1200">
                <a:solidFill>
                  <a:srgbClr val="586179"/>
                </a:solidFill>
                <a:latin typeface="Telefonica Sans" panose="02000003020000060003" pitchFamily="50" charset="0"/>
                <a:ea typeface="+mn-ea"/>
                <a:cs typeface="+mn-cs"/>
              </a:rPr>
              <a:t>Gestión de la información </a:t>
            </a:r>
            <a:r>
              <a:rPr lang="es-ES" sz="2968" kern="1200">
                <a:solidFill>
                  <a:srgbClr val="586179"/>
                </a:solidFill>
                <a:latin typeface="Telefonica Sans" panose="02000003020000060003" pitchFamily="50" charset="0"/>
                <a:ea typeface="+mn-ea"/>
                <a:cs typeface="+mn-cs"/>
              </a:rPr>
              <a:t>y </a:t>
            </a:r>
            <a:r>
              <a:rPr lang="es-ES" sz="2968" b="1" kern="1200">
                <a:solidFill>
                  <a:srgbClr val="0066FF"/>
                </a:solidFill>
                <a:latin typeface="Telefonica Sans" panose="02000003020000060003" pitchFamily="50" charset="0"/>
                <a:ea typeface="+mn-ea"/>
                <a:cs typeface="+mn-cs"/>
              </a:rPr>
              <a:t>automatización</a:t>
            </a:r>
            <a:r>
              <a:rPr lang="es-ES" sz="2968" kern="1200">
                <a:solidFill>
                  <a:srgbClr val="586179"/>
                </a:solidFill>
                <a:latin typeface="Telefonica Sans" panose="02000003020000060003" pitchFamily="50" charset="0"/>
                <a:ea typeface="+mn-ea"/>
                <a:cs typeface="+mn-cs"/>
              </a:rPr>
              <a:t> de delegación y contratos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6E2C7A75-F5E7-3CC0-8F67-DEEA5B9E601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981180" y="4552150"/>
            <a:ext cx="3132350" cy="3588325"/>
          </a:xfrm>
          <a:prstGeom prst="rect">
            <a:avLst/>
          </a:prstGeom>
        </p:spPr>
      </p:pic>
      <p:sp>
        <p:nvSpPr>
          <p:cNvPr id="16" name="Rectángulo 15">
            <a:extLst>
              <a:ext uri="{FF2B5EF4-FFF2-40B4-BE49-F238E27FC236}">
                <a16:creationId xmlns:a16="http://schemas.microsoft.com/office/drawing/2014/main" id="{BE48D0E9-BF7E-4883-8FD0-4ECE7F5389CA}"/>
              </a:ext>
            </a:extLst>
          </p:cNvPr>
          <p:cNvSpPr/>
          <p:nvPr/>
        </p:nvSpPr>
        <p:spPr>
          <a:xfrm>
            <a:off x="6988211" y="1772948"/>
            <a:ext cx="5936250" cy="85308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" sz="2968" kern="12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B79936A4-D598-F72B-4A57-A05431CABDF3}"/>
              </a:ext>
            </a:extLst>
          </p:cNvPr>
          <p:cNvSpPr/>
          <p:nvPr/>
        </p:nvSpPr>
        <p:spPr>
          <a:xfrm>
            <a:off x="13374421" y="1772948"/>
            <a:ext cx="5936250" cy="85308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" sz="2968" kern="12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8" name="Rectángulo: esquinas redondeadas 17">
            <a:extLst>
              <a:ext uri="{FF2B5EF4-FFF2-40B4-BE49-F238E27FC236}">
                <a16:creationId xmlns:a16="http://schemas.microsoft.com/office/drawing/2014/main" id="{279D4C9D-1024-9B13-A1DC-A6ED196637D9}"/>
              </a:ext>
            </a:extLst>
          </p:cNvPr>
          <p:cNvSpPr/>
          <p:nvPr/>
        </p:nvSpPr>
        <p:spPr>
          <a:xfrm>
            <a:off x="13352471" y="287932"/>
            <a:ext cx="5980150" cy="1012916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/>
            <a:r>
              <a:rPr lang="es-ES" sz="2309" kern="1200">
                <a:solidFill>
                  <a:srgbClr val="FFFFFF"/>
                </a:solidFill>
                <a:latin typeface="Arial" panose="020B0604020202020204"/>
              </a:rPr>
              <a:t>DISPONIBILIDAD PREVISTA</a:t>
            </a:r>
          </a:p>
          <a:p>
            <a:pPr algn="ctr" defTabSz="1507846" rtl="0"/>
            <a:r>
              <a:rPr lang="es-ES" sz="2968" b="1" kern="1200">
                <a:solidFill>
                  <a:srgbClr val="FFFFFF"/>
                </a:solidFill>
                <a:latin typeface="Arial" panose="020B0604020202020204"/>
              </a:rPr>
              <a:t>SEPTIEMBRE</a:t>
            </a:r>
          </a:p>
        </p:txBody>
      </p:sp>
    </p:spTree>
    <p:extLst>
      <p:ext uri="{BB962C8B-B14F-4D97-AF65-F5344CB8AC3E}">
        <p14:creationId xmlns:p14="http://schemas.microsoft.com/office/powerpoint/2010/main" val="40484732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7DF14DC6-7155-197F-CF8C-E6A5E6304375}"/>
              </a:ext>
            </a:extLst>
          </p:cNvPr>
          <p:cNvCxnSpPr>
            <a:cxnSpLocks/>
            <a:stCxn id="5" idx="3"/>
            <a:endCxn id="66" idx="2"/>
          </p:cNvCxnSpPr>
          <p:nvPr/>
        </p:nvCxnSpPr>
        <p:spPr>
          <a:xfrm flipV="1">
            <a:off x="2619884" y="2504089"/>
            <a:ext cx="14714757" cy="1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ítulo 1">
            <a:extLst>
              <a:ext uri="{FF2B5EF4-FFF2-40B4-BE49-F238E27FC236}">
                <a16:creationId xmlns:a16="http://schemas.microsoft.com/office/drawing/2014/main" id="{6088CBEE-6148-4B18-82AC-4C04C17835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/>
              <a:t>KIT DIGITAL ES UN PROCESO CON DIVERSAS FASES E HITOS A COMPLETAR</a:t>
            </a:r>
            <a:endParaRPr lang="es-ES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6D88CA0E-00AD-8A05-4A92-018F974E1C38}"/>
              </a:ext>
            </a:extLst>
          </p:cNvPr>
          <p:cNvSpPr/>
          <p:nvPr/>
        </p:nvSpPr>
        <p:spPr>
          <a:xfrm>
            <a:off x="223102" y="1927879"/>
            <a:ext cx="2396782" cy="1152421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285750" marR="0" lvl="0" indent="-285750" algn="l" defTabSz="1507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00" b="0" i="1" u="none" strike="noStrike" kern="1200" cap="none" spc="0" normalizeH="0" baseline="0" noProof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  <a:latin typeface="Telefonica Sans" panose="02000003020000060003" pitchFamily="50" charset="0"/>
                <a:ea typeface="+mn-ea"/>
                <a:cs typeface="Arial" panose="020B0604020202020204" pitchFamily="34" charset="0"/>
              </a:rPr>
              <a:t>Registro </a:t>
            </a:r>
          </a:p>
          <a:p>
            <a:pPr marL="285750" marR="0" lvl="0" indent="-285750" algn="l" defTabSz="1507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00" b="0" i="1" u="none" strike="noStrike" kern="1200" cap="none" spc="0" normalizeH="0" baseline="0" noProof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  <a:latin typeface="Telefonica Sans" panose="02000003020000060003" pitchFamily="50" charset="0"/>
                <a:ea typeface="+mn-ea"/>
                <a:cs typeface="Arial" panose="020B0604020202020204" pitchFamily="34" charset="0"/>
              </a:rPr>
              <a:t>Test en Acelera Pyme</a:t>
            </a:r>
          </a:p>
          <a:p>
            <a:pPr marL="285750" marR="0" lvl="0" indent="-285750" algn="l" defTabSz="1507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00" b="0" i="1" u="none" strike="noStrike" kern="1200" cap="none" spc="0" normalizeH="0" baseline="0" noProof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  <a:latin typeface="Telefonica Sans" panose="02000003020000060003" pitchFamily="50" charset="0"/>
                <a:ea typeface="+mn-ea"/>
                <a:cs typeface="Arial" panose="020B0604020202020204" pitchFamily="34" charset="0"/>
              </a:rPr>
              <a:t>Recopilación datos</a:t>
            </a:r>
          </a:p>
        </p:txBody>
      </p:sp>
      <p:grpSp>
        <p:nvGrpSpPr>
          <p:cNvPr id="54" name="Group 42" descr="timeline">
            <a:extLst>
              <a:ext uri="{FF2B5EF4-FFF2-40B4-BE49-F238E27FC236}">
                <a16:creationId xmlns:a16="http://schemas.microsoft.com/office/drawing/2014/main" id="{F9DF47E2-592B-2A55-3A74-520DC3B82CB4}"/>
              </a:ext>
            </a:extLst>
          </p:cNvPr>
          <p:cNvGrpSpPr/>
          <p:nvPr/>
        </p:nvGrpSpPr>
        <p:grpSpPr>
          <a:xfrm>
            <a:off x="1856520" y="2504090"/>
            <a:ext cx="16939718" cy="6083876"/>
            <a:chOff x="976547" y="2294607"/>
            <a:chExt cx="10278189" cy="3247747"/>
          </a:xfrm>
        </p:grpSpPr>
        <p:grpSp>
          <p:nvGrpSpPr>
            <p:cNvPr id="55" name="Group 11">
              <a:extLst>
                <a:ext uri="{FF2B5EF4-FFF2-40B4-BE49-F238E27FC236}">
                  <a16:creationId xmlns:a16="http://schemas.microsoft.com/office/drawing/2014/main" id="{ECB17236-9306-73EE-C2E0-3E0663A582C8}"/>
                </a:ext>
              </a:extLst>
            </p:cNvPr>
            <p:cNvGrpSpPr/>
            <p:nvPr/>
          </p:nvGrpSpPr>
          <p:grpSpPr>
            <a:xfrm rot="5400000" flipH="1">
              <a:off x="9555848" y="2219844"/>
              <a:ext cx="1624126" cy="1773651"/>
              <a:chOff x="6415077" y="1171530"/>
              <a:chExt cx="1890380" cy="1890380"/>
            </a:xfrm>
          </p:grpSpPr>
          <p:sp>
            <p:nvSpPr>
              <p:cNvPr id="66" name="Arc 9">
                <a:extLst>
                  <a:ext uri="{FF2B5EF4-FFF2-40B4-BE49-F238E27FC236}">
                    <a16:creationId xmlns:a16="http://schemas.microsoft.com/office/drawing/2014/main" id="{B5B054C1-32E0-50E5-DEE9-E85599C1A2CB}"/>
                  </a:ext>
                </a:extLst>
              </p:cNvPr>
              <p:cNvSpPr/>
              <p:nvPr/>
            </p:nvSpPr>
            <p:spPr>
              <a:xfrm>
                <a:off x="6415077" y="1171530"/>
                <a:ext cx="1890380" cy="1890380"/>
              </a:xfrm>
              <a:prstGeom prst="arc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8617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9" name="Arc 10">
                <a:extLst>
                  <a:ext uri="{FF2B5EF4-FFF2-40B4-BE49-F238E27FC236}">
                    <a16:creationId xmlns:a16="http://schemas.microsoft.com/office/drawing/2014/main" id="{A90A3B5B-BC1C-2CA4-7144-F193B0831218}"/>
                  </a:ext>
                </a:extLst>
              </p:cNvPr>
              <p:cNvSpPr/>
              <p:nvPr/>
            </p:nvSpPr>
            <p:spPr>
              <a:xfrm flipH="1">
                <a:off x="6415077" y="1171530"/>
                <a:ext cx="1890380" cy="1890380"/>
              </a:xfrm>
              <a:prstGeom prst="arc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8617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56" name="Group 45">
              <a:extLst>
                <a:ext uri="{FF2B5EF4-FFF2-40B4-BE49-F238E27FC236}">
                  <a16:creationId xmlns:a16="http://schemas.microsoft.com/office/drawing/2014/main" id="{23010692-9215-B1C6-0624-75189254456E}"/>
                </a:ext>
              </a:extLst>
            </p:cNvPr>
            <p:cNvGrpSpPr/>
            <p:nvPr/>
          </p:nvGrpSpPr>
          <p:grpSpPr>
            <a:xfrm rot="16200000" flipH="1">
              <a:off x="1051310" y="3843465"/>
              <a:ext cx="1624126" cy="1773651"/>
              <a:chOff x="6415077" y="1171530"/>
              <a:chExt cx="1890380" cy="1890380"/>
            </a:xfrm>
          </p:grpSpPr>
          <p:sp>
            <p:nvSpPr>
              <p:cNvPr id="62" name="Arc 46">
                <a:extLst>
                  <a:ext uri="{FF2B5EF4-FFF2-40B4-BE49-F238E27FC236}">
                    <a16:creationId xmlns:a16="http://schemas.microsoft.com/office/drawing/2014/main" id="{5CED893E-D692-1224-EC2E-77A162E46904}"/>
                  </a:ext>
                </a:extLst>
              </p:cNvPr>
              <p:cNvSpPr/>
              <p:nvPr/>
            </p:nvSpPr>
            <p:spPr>
              <a:xfrm>
                <a:off x="6415077" y="1171530"/>
                <a:ext cx="1890380" cy="1890380"/>
              </a:xfrm>
              <a:prstGeom prst="arc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8617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63" name="Arc 47">
                <a:extLst>
                  <a:ext uri="{FF2B5EF4-FFF2-40B4-BE49-F238E27FC236}">
                    <a16:creationId xmlns:a16="http://schemas.microsoft.com/office/drawing/2014/main" id="{D20E6B6E-652D-A8CC-3D32-443B84EC6A08}"/>
                  </a:ext>
                </a:extLst>
              </p:cNvPr>
              <p:cNvSpPr/>
              <p:nvPr/>
            </p:nvSpPr>
            <p:spPr>
              <a:xfrm flipH="1">
                <a:off x="6415077" y="1171530"/>
                <a:ext cx="1890380" cy="1890380"/>
              </a:xfrm>
              <a:prstGeom prst="arc">
                <a:avLst/>
              </a:prstGeom>
              <a:ln w="5715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8617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cxnSp>
          <p:nvCxnSpPr>
            <p:cNvPr id="60" name="Straight Connector 58">
              <a:extLst>
                <a:ext uri="{FF2B5EF4-FFF2-40B4-BE49-F238E27FC236}">
                  <a16:creationId xmlns:a16="http://schemas.microsoft.com/office/drawing/2014/main" id="{B7877CEF-2029-4915-67B2-17A2A95A612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849703" y="3918227"/>
              <a:ext cx="8535794" cy="0"/>
            </a:xfrm>
            <a:prstGeom prst="line">
              <a:avLst/>
            </a:prstGeom>
            <a:ln w="571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09BACD91-A88C-97FF-AE4D-20F03666379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849705" y="5541847"/>
              <a:ext cx="6929240" cy="266"/>
            </a:xfrm>
            <a:prstGeom prst="line">
              <a:avLst/>
            </a:prstGeom>
            <a:ln w="571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2" name="Rectángulo 71">
            <a:extLst>
              <a:ext uri="{FF2B5EF4-FFF2-40B4-BE49-F238E27FC236}">
                <a16:creationId xmlns:a16="http://schemas.microsoft.com/office/drawing/2014/main" id="{886E26CD-3A0B-E4C5-F329-870CF630AC08}"/>
              </a:ext>
            </a:extLst>
          </p:cNvPr>
          <p:cNvSpPr/>
          <p:nvPr/>
        </p:nvSpPr>
        <p:spPr>
          <a:xfrm>
            <a:off x="7658783" y="5261251"/>
            <a:ext cx="2396782" cy="5104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1507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  <a:latin typeface="Telefonica Sans" panose="02000003020000060003" pitchFamily="50" charset="0"/>
                <a:ea typeface="+mn-ea"/>
                <a:cs typeface="Arial" panose="020B0604020202020204" pitchFamily="34" charset="0"/>
              </a:rPr>
              <a:t>FASE I</a:t>
            </a:r>
          </a:p>
        </p:txBody>
      </p:sp>
      <p:sp>
        <p:nvSpPr>
          <p:cNvPr id="73" name="Rectángulo 72">
            <a:extLst>
              <a:ext uri="{FF2B5EF4-FFF2-40B4-BE49-F238E27FC236}">
                <a16:creationId xmlns:a16="http://schemas.microsoft.com/office/drawing/2014/main" id="{44364454-9522-AE37-0BD6-E3B24FF9A33F}"/>
              </a:ext>
            </a:extLst>
          </p:cNvPr>
          <p:cNvSpPr/>
          <p:nvPr/>
        </p:nvSpPr>
        <p:spPr>
          <a:xfrm>
            <a:off x="6021077" y="8254203"/>
            <a:ext cx="2396782" cy="5104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1507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  <a:latin typeface="Telefonica Sans" panose="02000003020000060003" pitchFamily="50" charset="0"/>
                <a:ea typeface="+mn-ea"/>
                <a:cs typeface="Arial" panose="020B0604020202020204" pitchFamily="34" charset="0"/>
              </a:rPr>
              <a:t>FASE II</a:t>
            </a:r>
          </a:p>
        </p:txBody>
      </p:sp>
      <p:grpSp>
        <p:nvGrpSpPr>
          <p:cNvPr id="167" name="Grupo 166">
            <a:extLst>
              <a:ext uri="{FF2B5EF4-FFF2-40B4-BE49-F238E27FC236}">
                <a16:creationId xmlns:a16="http://schemas.microsoft.com/office/drawing/2014/main" id="{A9E9D2F1-21AD-3DC6-159E-76337CCBB3AE}"/>
              </a:ext>
            </a:extLst>
          </p:cNvPr>
          <p:cNvGrpSpPr/>
          <p:nvPr/>
        </p:nvGrpSpPr>
        <p:grpSpPr>
          <a:xfrm>
            <a:off x="12754547" y="1765869"/>
            <a:ext cx="2704289" cy="2936292"/>
            <a:chOff x="7671516" y="2235623"/>
            <a:chExt cx="2704289" cy="2936292"/>
          </a:xfrm>
        </p:grpSpPr>
        <p:sp>
          <p:nvSpPr>
            <p:cNvPr id="6" name="Elipse 5">
              <a:extLst>
                <a:ext uri="{FF2B5EF4-FFF2-40B4-BE49-F238E27FC236}">
                  <a16:creationId xmlns:a16="http://schemas.microsoft.com/office/drawing/2014/main" id="{ADCA2273-9BB0-6485-3F22-C5226DB34AE4}"/>
                </a:ext>
              </a:extLst>
            </p:cNvPr>
            <p:cNvSpPr/>
            <p:nvPr/>
          </p:nvSpPr>
          <p:spPr>
            <a:xfrm>
              <a:off x="8352452" y="2235623"/>
              <a:ext cx="1342417" cy="128996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3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fonica Sans" panose="02000003020000060003" pitchFamily="50" charset="0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20" name="Rectángulo: esquinas redondeadas 19">
              <a:extLst>
                <a:ext uri="{FF2B5EF4-FFF2-40B4-BE49-F238E27FC236}">
                  <a16:creationId xmlns:a16="http://schemas.microsoft.com/office/drawing/2014/main" id="{2E94E64F-7C52-50C6-DB27-AAB78CE248DB}"/>
                </a:ext>
              </a:extLst>
            </p:cNvPr>
            <p:cNvSpPr/>
            <p:nvPr/>
          </p:nvSpPr>
          <p:spPr>
            <a:xfrm>
              <a:off x="7671516" y="3549883"/>
              <a:ext cx="2704289" cy="1063592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0066FF"/>
                  </a:solidFill>
                  <a:effectLst/>
                  <a:uLnTx/>
                  <a:uFillTx/>
                  <a:latin typeface="Telefonica Sans" panose="02000003020000060003" pitchFamily="50" charset="0"/>
                  <a:ea typeface="+mn-ea"/>
                  <a:cs typeface="+mn-cs"/>
                </a:rPr>
                <a:t>Concesión ayuda</a:t>
              </a:r>
            </a:p>
          </p:txBody>
        </p:sp>
        <p:grpSp>
          <p:nvGrpSpPr>
            <p:cNvPr id="166" name="Grupo 165">
              <a:extLst>
                <a:ext uri="{FF2B5EF4-FFF2-40B4-BE49-F238E27FC236}">
                  <a16:creationId xmlns:a16="http://schemas.microsoft.com/office/drawing/2014/main" id="{162B1C62-96EE-A40E-EC70-1A7710BF174F}"/>
                </a:ext>
              </a:extLst>
            </p:cNvPr>
            <p:cNvGrpSpPr/>
            <p:nvPr/>
          </p:nvGrpSpPr>
          <p:grpSpPr>
            <a:xfrm>
              <a:off x="7680657" y="4710250"/>
              <a:ext cx="2686006" cy="461665"/>
              <a:chOff x="7662577" y="4710250"/>
              <a:chExt cx="2686006" cy="461665"/>
            </a:xfrm>
          </p:grpSpPr>
          <p:sp>
            <p:nvSpPr>
              <p:cNvPr id="50" name="CuadroTexto 49">
                <a:extLst>
                  <a:ext uri="{FF2B5EF4-FFF2-40B4-BE49-F238E27FC236}">
                    <a16:creationId xmlns:a16="http://schemas.microsoft.com/office/drawing/2014/main" id="{0DF3E1F4-9A1D-EF19-9754-7E6478B6D422}"/>
                  </a:ext>
                </a:extLst>
              </p:cNvPr>
              <p:cNvSpPr txBox="1"/>
              <p:nvPr/>
            </p:nvSpPr>
            <p:spPr>
              <a:xfrm>
                <a:off x="8082614" y="4710250"/>
                <a:ext cx="2265969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>
                  <a:defRPr sz="1200" i="1">
                    <a:latin typeface="Arial" panose="020B0604020202020204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5077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200" b="0" i="1" u="none" strike="noStrike" kern="1200" cap="none" spc="0" normalizeH="0" baseline="0" noProof="0">
                    <a:ln>
                      <a:noFill/>
                    </a:ln>
                    <a:solidFill>
                      <a:srgbClr val="586179"/>
                    </a:solidFill>
                    <a:effectLst/>
                    <a:uLnTx/>
                    <a:uFillTx/>
                    <a:latin typeface="Telefonica Sans" panose="02000003020000060003" pitchFamily="50" charset="0"/>
                    <a:ea typeface="+mn-ea"/>
                    <a:cs typeface="Arial" panose="020B0604020202020204" pitchFamily="34" charset="0"/>
                  </a:rPr>
                  <a:t>Notificación de red.es y recordatorios de Telefónica </a:t>
                </a:r>
              </a:p>
            </p:txBody>
          </p:sp>
          <p:pic>
            <p:nvPicPr>
              <p:cNvPr id="67" name="Gráfico 66" descr="Correo electrónico con relleno sólido">
                <a:extLst>
                  <a:ext uri="{FF2B5EF4-FFF2-40B4-BE49-F238E27FC236}">
                    <a16:creationId xmlns:a16="http://schemas.microsoft.com/office/drawing/2014/main" id="{A56DE1AE-6861-CBE6-878F-95A30E4DE2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flipH="1">
                <a:off x="7662577" y="4757469"/>
                <a:ext cx="367226" cy="367226"/>
              </a:xfrm>
              <a:prstGeom prst="rect">
                <a:avLst/>
              </a:prstGeom>
            </p:spPr>
          </p:pic>
        </p:grpSp>
      </p:grpSp>
      <p:grpSp>
        <p:nvGrpSpPr>
          <p:cNvPr id="165" name="Grupo 164">
            <a:extLst>
              <a:ext uri="{FF2B5EF4-FFF2-40B4-BE49-F238E27FC236}">
                <a16:creationId xmlns:a16="http://schemas.microsoft.com/office/drawing/2014/main" id="{20957EB1-5AFA-DBAE-573D-F52B3D9D41C7}"/>
              </a:ext>
            </a:extLst>
          </p:cNvPr>
          <p:cNvGrpSpPr/>
          <p:nvPr/>
        </p:nvGrpSpPr>
        <p:grpSpPr>
          <a:xfrm>
            <a:off x="2949015" y="1765869"/>
            <a:ext cx="2768176" cy="3072748"/>
            <a:chOff x="1512724" y="2342890"/>
            <a:chExt cx="2768176" cy="3072748"/>
          </a:xfrm>
        </p:grpSpPr>
        <p:sp>
          <p:nvSpPr>
            <p:cNvPr id="3" name="Elipse 2">
              <a:extLst>
                <a:ext uri="{FF2B5EF4-FFF2-40B4-BE49-F238E27FC236}">
                  <a16:creationId xmlns:a16="http://schemas.microsoft.com/office/drawing/2014/main" id="{62C10521-C252-DF5C-C37C-36CA5CB41CA0}"/>
                </a:ext>
              </a:extLst>
            </p:cNvPr>
            <p:cNvSpPr/>
            <p:nvPr/>
          </p:nvSpPr>
          <p:spPr>
            <a:xfrm>
              <a:off x="2257547" y="2342890"/>
              <a:ext cx="1342417" cy="128996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3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fonica Sans" panose="02000003020000060003" pitchFamily="50" charset="0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6" name="Rectángulo: esquinas redondeadas 15">
              <a:extLst>
                <a:ext uri="{FF2B5EF4-FFF2-40B4-BE49-F238E27FC236}">
                  <a16:creationId xmlns:a16="http://schemas.microsoft.com/office/drawing/2014/main" id="{434E7519-B5A3-20DE-C34E-943317A6539C}"/>
                </a:ext>
              </a:extLst>
            </p:cNvPr>
            <p:cNvSpPr/>
            <p:nvPr/>
          </p:nvSpPr>
          <p:spPr>
            <a:xfrm>
              <a:off x="1576611" y="3659384"/>
              <a:ext cx="2704289" cy="1063592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0066FF"/>
                  </a:solidFill>
                  <a:effectLst/>
                  <a:uLnTx/>
                  <a:uFillTx/>
                  <a:latin typeface="Telefonica Sans" panose="02000003020000060003" pitchFamily="50" charset="0"/>
                  <a:ea typeface="+mn-ea"/>
                  <a:cs typeface="+mn-cs"/>
                </a:rPr>
                <a:t>Firma del contrato</a:t>
              </a:r>
            </a:p>
          </p:txBody>
        </p:sp>
        <p:grpSp>
          <p:nvGrpSpPr>
            <p:cNvPr id="162" name="Grupo 161">
              <a:extLst>
                <a:ext uri="{FF2B5EF4-FFF2-40B4-BE49-F238E27FC236}">
                  <a16:creationId xmlns:a16="http://schemas.microsoft.com/office/drawing/2014/main" id="{59A197A7-F614-6995-4664-E068105107BA}"/>
                </a:ext>
              </a:extLst>
            </p:cNvPr>
            <p:cNvGrpSpPr/>
            <p:nvPr/>
          </p:nvGrpSpPr>
          <p:grpSpPr>
            <a:xfrm>
              <a:off x="1512724" y="4769307"/>
              <a:ext cx="2768033" cy="646331"/>
              <a:chOff x="1502464" y="4769307"/>
              <a:chExt cx="2768033" cy="646331"/>
            </a:xfrm>
          </p:grpSpPr>
          <p:sp>
            <p:nvSpPr>
              <p:cNvPr id="18" name="CuadroTexto 17">
                <a:extLst>
                  <a:ext uri="{FF2B5EF4-FFF2-40B4-BE49-F238E27FC236}">
                    <a16:creationId xmlns:a16="http://schemas.microsoft.com/office/drawing/2014/main" id="{721FB86B-C120-8D11-84AF-61C14CC75C4B}"/>
                  </a:ext>
                </a:extLst>
              </p:cNvPr>
              <p:cNvSpPr txBox="1"/>
              <p:nvPr/>
            </p:nvSpPr>
            <p:spPr>
              <a:xfrm>
                <a:off x="2013472" y="4769307"/>
                <a:ext cx="2257025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>
                  <a:defRPr sz="1200" i="1">
                    <a:latin typeface="Arial" panose="020B0604020202020204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5077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200" b="0" i="1" u="none" strike="noStrike" kern="1200" cap="none" spc="0" normalizeH="0" baseline="0" noProof="0">
                    <a:ln>
                      <a:noFill/>
                    </a:ln>
                    <a:solidFill>
                      <a:srgbClr val="586179"/>
                    </a:solidFill>
                    <a:effectLst/>
                    <a:uLnTx/>
                    <a:uFillTx/>
                    <a:latin typeface="Telefonica Sans" panose="02000003020000060003" pitchFamily="50" charset="0"/>
                    <a:ea typeface="+mn-ea"/>
                    <a:cs typeface="Arial" panose="020B0604020202020204" pitchFamily="34" charset="0"/>
                  </a:rPr>
                  <a:t>Contrato por el que Telefónica proveerá los servicios si se concede la ayuda </a:t>
                </a:r>
              </a:p>
            </p:txBody>
          </p:sp>
          <p:grpSp>
            <p:nvGrpSpPr>
              <p:cNvPr id="94" name="Grupo 93">
                <a:extLst>
                  <a:ext uri="{FF2B5EF4-FFF2-40B4-BE49-F238E27FC236}">
                    <a16:creationId xmlns:a16="http://schemas.microsoft.com/office/drawing/2014/main" id="{2DAA5EC5-A7CD-69A9-1351-F84EE7AAABE7}"/>
                  </a:ext>
                </a:extLst>
              </p:cNvPr>
              <p:cNvGrpSpPr/>
              <p:nvPr/>
            </p:nvGrpSpPr>
            <p:grpSpPr>
              <a:xfrm>
                <a:off x="1502464" y="4775951"/>
                <a:ext cx="582211" cy="633043"/>
                <a:chOff x="468592" y="3907008"/>
                <a:chExt cx="582211" cy="633043"/>
              </a:xfrm>
            </p:grpSpPr>
            <p:grpSp>
              <p:nvGrpSpPr>
                <p:cNvPr id="82" name="Grupo 81">
                  <a:extLst>
                    <a:ext uri="{FF2B5EF4-FFF2-40B4-BE49-F238E27FC236}">
                      <a16:creationId xmlns:a16="http://schemas.microsoft.com/office/drawing/2014/main" id="{51D01FA0-41F6-A4CD-7A24-1D49187B7FBF}"/>
                    </a:ext>
                  </a:extLst>
                </p:cNvPr>
                <p:cNvGrpSpPr/>
                <p:nvPr/>
              </p:nvGrpSpPr>
              <p:grpSpPr>
                <a:xfrm>
                  <a:off x="517386" y="3907008"/>
                  <a:ext cx="519685" cy="457200"/>
                  <a:chOff x="-1393931" y="5919623"/>
                  <a:chExt cx="2919254" cy="2568255"/>
                </a:xfrm>
              </p:grpSpPr>
              <p:pic>
                <p:nvPicPr>
                  <p:cNvPr id="85" name="Gráfico 84" descr="Firma contorno">
                    <a:extLst>
                      <a:ext uri="{FF2B5EF4-FFF2-40B4-BE49-F238E27FC236}">
                        <a16:creationId xmlns:a16="http://schemas.microsoft.com/office/drawing/2014/main" id="{F3D7DCD9-4FEA-3F43-3CAB-FAAD7591D7D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6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-1393931" y="5919623"/>
                    <a:ext cx="2767660" cy="2568255"/>
                  </a:xfrm>
                  <a:prstGeom prst="rect">
                    <a:avLst/>
                  </a:prstGeom>
                </p:spPr>
              </p:pic>
              <p:sp>
                <p:nvSpPr>
                  <p:cNvPr id="88" name="Triángulo isósceles 87">
                    <a:extLst>
                      <a:ext uri="{FF2B5EF4-FFF2-40B4-BE49-F238E27FC236}">
                        <a16:creationId xmlns:a16="http://schemas.microsoft.com/office/drawing/2014/main" id="{E24446F9-1B6E-61DE-BF5C-D14AD980A47C}"/>
                      </a:ext>
                    </a:extLst>
                  </p:cNvPr>
                  <p:cNvSpPr/>
                  <p:nvPr/>
                </p:nvSpPr>
                <p:spPr>
                  <a:xfrm rot="527976">
                    <a:off x="673768" y="6210527"/>
                    <a:ext cx="608783" cy="747062"/>
                  </a:xfrm>
                  <a:prstGeom prst="triangle">
                    <a:avLst>
                      <a:gd name="adj" fmla="val 100000"/>
                    </a:avLst>
                  </a:prstGeom>
                  <a:solidFill>
                    <a:schemeClr val="accent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9" name="Triángulo isósceles 88">
                    <a:extLst>
                      <a:ext uri="{FF2B5EF4-FFF2-40B4-BE49-F238E27FC236}">
                        <a16:creationId xmlns:a16="http://schemas.microsoft.com/office/drawing/2014/main" id="{25784D4F-C798-ABBA-AE32-B4AAF68336A2}"/>
                      </a:ext>
                    </a:extLst>
                  </p:cNvPr>
                  <p:cNvSpPr/>
                  <p:nvPr/>
                </p:nvSpPr>
                <p:spPr>
                  <a:xfrm rot="2871093">
                    <a:off x="818964" y="6657460"/>
                    <a:ext cx="608783" cy="576599"/>
                  </a:xfrm>
                  <a:prstGeom prst="triangle">
                    <a:avLst>
                      <a:gd name="adj" fmla="val 92913"/>
                    </a:avLst>
                  </a:prstGeom>
                  <a:solidFill>
                    <a:schemeClr val="accent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0" name="Rectángulo 89">
                    <a:extLst>
                      <a:ext uri="{FF2B5EF4-FFF2-40B4-BE49-F238E27FC236}">
                        <a16:creationId xmlns:a16="http://schemas.microsoft.com/office/drawing/2014/main" id="{1ED0A14D-9032-351E-ACC8-F61CF3C15469}"/>
                      </a:ext>
                    </a:extLst>
                  </p:cNvPr>
                  <p:cNvSpPr/>
                  <p:nvPr/>
                </p:nvSpPr>
                <p:spPr>
                  <a:xfrm flipH="1">
                    <a:off x="1240700" y="6215554"/>
                    <a:ext cx="175253" cy="838287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1" name="Rectángulo 90">
                    <a:extLst>
                      <a:ext uri="{FF2B5EF4-FFF2-40B4-BE49-F238E27FC236}">
                        <a16:creationId xmlns:a16="http://schemas.microsoft.com/office/drawing/2014/main" id="{A518A42B-6100-F59D-CED7-B573D1BEFFE8}"/>
                      </a:ext>
                    </a:extLst>
                  </p:cNvPr>
                  <p:cNvSpPr/>
                  <p:nvPr/>
                </p:nvSpPr>
                <p:spPr>
                  <a:xfrm flipH="1">
                    <a:off x="1350070" y="6174828"/>
                    <a:ext cx="175253" cy="1190076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93" name="CuadroTexto 92">
                  <a:extLst>
                    <a:ext uri="{FF2B5EF4-FFF2-40B4-BE49-F238E27FC236}">
                      <a16:creationId xmlns:a16="http://schemas.microsoft.com/office/drawing/2014/main" id="{F1961499-B848-3066-9E2B-6079B1DE2D88}"/>
                    </a:ext>
                  </a:extLst>
                </p:cNvPr>
                <p:cNvSpPr txBox="1"/>
                <p:nvPr/>
              </p:nvSpPr>
              <p:spPr>
                <a:xfrm>
                  <a:off x="468592" y="4293830"/>
                  <a:ext cx="582211" cy="24622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10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E66C64"/>
                      </a:solidFill>
                      <a:effectLst/>
                      <a:uLnTx/>
                      <a:uFillTx/>
                    </a:rPr>
                    <a:t>Cliente</a:t>
                  </a:r>
                </a:p>
              </p:txBody>
            </p:sp>
          </p:grpSp>
        </p:grpSp>
      </p:grpSp>
      <p:grpSp>
        <p:nvGrpSpPr>
          <p:cNvPr id="164" name="Grupo 163">
            <a:extLst>
              <a:ext uri="{FF2B5EF4-FFF2-40B4-BE49-F238E27FC236}">
                <a16:creationId xmlns:a16="http://schemas.microsoft.com/office/drawing/2014/main" id="{6E460479-480A-0106-967E-6795D034EA34}"/>
              </a:ext>
            </a:extLst>
          </p:cNvPr>
          <p:cNvGrpSpPr/>
          <p:nvPr/>
        </p:nvGrpSpPr>
        <p:grpSpPr>
          <a:xfrm>
            <a:off x="7836135" y="1765869"/>
            <a:ext cx="2799469" cy="3083711"/>
            <a:chOff x="4242203" y="2235623"/>
            <a:chExt cx="2799469" cy="3083711"/>
          </a:xfrm>
        </p:grpSpPr>
        <p:sp>
          <p:nvSpPr>
            <p:cNvPr id="4" name="Elipse 3">
              <a:extLst>
                <a:ext uri="{FF2B5EF4-FFF2-40B4-BE49-F238E27FC236}">
                  <a16:creationId xmlns:a16="http://schemas.microsoft.com/office/drawing/2014/main" id="{48C1DB04-FADC-CE9A-BA56-372CBB76B11B}"/>
                </a:ext>
              </a:extLst>
            </p:cNvPr>
            <p:cNvSpPr/>
            <p:nvPr/>
          </p:nvSpPr>
          <p:spPr>
            <a:xfrm>
              <a:off x="4970729" y="2235623"/>
              <a:ext cx="1342417" cy="128996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3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fonica Sans" panose="02000003020000060003" pitchFamily="50" charset="0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9" name="Rectángulo: esquinas redondeadas 8">
              <a:extLst>
                <a:ext uri="{FF2B5EF4-FFF2-40B4-BE49-F238E27FC236}">
                  <a16:creationId xmlns:a16="http://schemas.microsoft.com/office/drawing/2014/main" id="{0660EB97-03EB-9379-9B8C-10079B3D87AF}"/>
                </a:ext>
              </a:extLst>
            </p:cNvPr>
            <p:cNvSpPr/>
            <p:nvPr/>
          </p:nvSpPr>
          <p:spPr>
            <a:xfrm>
              <a:off x="4289793" y="3552117"/>
              <a:ext cx="2704289" cy="1063592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0066FF"/>
                  </a:solidFill>
                  <a:effectLst/>
                  <a:uLnTx/>
                  <a:uFillTx/>
                  <a:latin typeface="Telefonica Sans" panose="02000003020000060003" pitchFamily="50" charset="0"/>
                  <a:ea typeface="+mn-ea"/>
                  <a:cs typeface="+mn-cs"/>
                </a:rPr>
                <a:t>Solicitud subvención en nombre del cliente</a:t>
              </a:r>
            </a:p>
          </p:txBody>
        </p:sp>
        <p:grpSp>
          <p:nvGrpSpPr>
            <p:cNvPr id="163" name="Grupo 162">
              <a:extLst>
                <a:ext uri="{FF2B5EF4-FFF2-40B4-BE49-F238E27FC236}">
                  <a16:creationId xmlns:a16="http://schemas.microsoft.com/office/drawing/2014/main" id="{6C15C251-1558-DC06-CC58-194ACA45B6D3}"/>
                </a:ext>
              </a:extLst>
            </p:cNvPr>
            <p:cNvGrpSpPr/>
            <p:nvPr/>
          </p:nvGrpSpPr>
          <p:grpSpPr>
            <a:xfrm>
              <a:off x="4242203" y="4686291"/>
              <a:ext cx="2799469" cy="633043"/>
              <a:chOff x="4242203" y="4686291"/>
              <a:chExt cx="2799469" cy="633043"/>
            </a:xfrm>
          </p:grpSpPr>
          <p:sp>
            <p:nvSpPr>
              <p:cNvPr id="19" name="CuadroTexto 18">
                <a:extLst>
                  <a:ext uri="{FF2B5EF4-FFF2-40B4-BE49-F238E27FC236}">
                    <a16:creationId xmlns:a16="http://schemas.microsoft.com/office/drawing/2014/main" id="{3674E086-212D-3FB6-F415-9F1565AD1872}"/>
                  </a:ext>
                </a:extLst>
              </p:cNvPr>
              <p:cNvSpPr txBox="1"/>
              <p:nvPr/>
            </p:nvSpPr>
            <p:spPr>
              <a:xfrm>
                <a:off x="4873208" y="4771980"/>
                <a:ext cx="2168464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>
                  <a:defRPr sz="1200" i="1">
                    <a:latin typeface="Arial" panose="020B0604020202020204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5077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200" b="0" i="1" u="none" strike="noStrike" kern="1200" cap="none" spc="0" normalizeH="0" baseline="0" noProof="0">
                    <a:ln>
                      <a:noFill/>
                    </a:ln>
                    <a:solidFill>
                      <a:srgbClr val="586179"/>
                    </a:solidFill>
                    <a:effectLst/>
                    <a:uLnTx/>
                    <a:uFillTx/>
                    <a:latin typeface="Telefonica Sans" panose="02000003020000060003" pitchFamily="50" charset="0"/>
                    <a:ea typeface="+mn-ea"/>
                    <a:cs typeface="Arial" panose="020B0604020202020204" pitchFamily="34" charset="0"/>
                  </a:rPr>
                  <a:t>Firma del documento autorización representación</a:t>
                </a:r>
              </a:p>
            </p:txBody>
          </p:sp>
          <p:grpSp>
            <p:nvGrpSpPr>
              <p:cNvPr id="95" name="Grupo 94">
                <a:extLst>
                  <a:ext uri="{FF2B5EF4-FFF2-40B4-BE49-F238E27FC236}">
                    <a16:creationId xmlns:a16="http://schemas.microsoft.com/office/drawing/2014/main" id="{B93F98E7-09CE-2C6C-9C95-346D6EC4EC7F}"/>
                  </a:ext>
                </a:extLst>
              </p:cNvPr>
              <p:cNvGrpSpPr/>
              <p:nvPr/>
            </p:nvGrpSpPr>
            <p:grpSpPr>
              <a:xfrm>
                <a:off x="4242203" y="4686291"/>
                <a:ext cx="582211" cy="633043"/>
                <a:chOff x="468592" y="3907008"/>
                <a:chExt cx="582211" cy="633043"/>
              </a:xfrm>
            </p:grpSpPr>
            <p:grpSp>
              <p:nvGrpSpPr>
                <p:cNvPr id="96" name="Grupo 95">
                  <a:extLst>
                    <a:ext uri="{FF2B5EF4-FFF2-40B4-BE49-F238E27FC236}">
                      <a16:creationId xmlns:a16="http://schemas.microsoft.com/office/drawing/2014/main" id="{31A5F738-72AC-A83A-960C-C67B9D286575}"/>
                    </a:ext>
                  </a:extLst>
                </p:cNvPr>
                <p:cNvGrpSpPr/>
                <p:nvPr/>
              </p:nvGrpSpPr>
              <p:grpSpPr>
                <a:xfrm>
                  <a:off x="517386" y="3907008"/>
                  <a:ext cx="519685" cy="457200"/>
                  <a:chOff x="-1393931" y="5919623"/>
                  <a:chExt cx="2919254" cy="2568255"/>
                </a:xfrm>
              </p:grpSpPr>
              <p:pic>
                <p:nvPicPr>
                  <p:cNvPr id="98" name="Gráfico 97" descr="Firma contorno">
                    <a:extLst>
                      <a:ext uri="{FF2B5EF4-FFF2-40B4-BE49-F238E27FC236}">
                        <a16:creationId xmlns:a16="http://schemas.microsoft.com/office/drawing/2014/main" id="{F7CF8DC6-4984-C8D6-BFB0-8731137E787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6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-1393931" y="5919623"/>
                    <a:ext cx="2767660" cy="2568255"/>
                  </a:xfrm>
                  <a:prstGeom prst="rect">
                    <a:avLst/>
                  </a:prstGeom>
                </p:spPr>
              </p:pic>
              <p:sp>
                <p:nvSpPr>
                  <p:cNvPr id="99" name="Triángulo isósceles 98">
                    <a:extLst>
                      <a:ext uri="{FF2B5EF4-FFF2-40B4-BE49-F238E27FC236}">
                        <a16:creationId xmlns:a16="http://schemas.microsoft.com/office/drawing/2014/main" id="{66A14E7F-8DE8-5512-3962-BF6A068BE1E4}"/>
                      </a:ext>
                    </a:extLst>
                  </p:cNvPr>
                  <p:cNvSpPr/>
                  <p:nvPr/>
                </p:nvSpPr>
                <p:spPr>
                  <a:xfrm rot="527976">
                    <a:off x="673768" y="6210527"/>
                    <a:ext cx="608783" cy="747062"/>
                  </a:xfrm>
                  <a:prstGeom prst="triangle">
                    <a:avLst>
                      <a:gd name="adj" fmla="val 100000"/>
                    </a:avLst>
                  </a:prstGeom>
                  <a:solidFill>
                    <a:schemeClr val="accent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0" name="Triángulo isósceles 99">
                    <a:extLst>
                      <a:ext uri="{FF2B5EF4-FFF2-40B4-BE49-F238E27FC236}">
                        <a16:creationId xmlns:a16="http://schemas.microsoft.com/office/drawing/2014/main" id="{C5634BEB-C6EB-DBAE-0DC0-6BEDC4600024}"/>
                      </a:ext>
                    </a:extLst>
                  </p:cNvPr>
                  <p:cNvSpPr/>
                  <p:nvPr/>
                </p:nvSpPr>
                <p:spPr>
                  <a:xfrm rot="2871093">
                    <a:off x="818964" y="6657460"/>
                    <a:ext cx="608783" cy="576599"/>
                  </a:xfrm>
                  <a:prstGeom prst="triangle">
                    <a:avLst>
                      <a:gd name="adj" fmla="val 92913"/>
                    </a:avLst>
                  </a:prstGeom>
                  <a:solidFill>
                    <a:schemeClr val="accent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1" name="Rectángulo 100">
                    <a:extLst>
                      <a:ext uri="{FF2B5EF4-FFF2-40B4-BE49-F238E27FC236}">
                        <a16:creationId xmlns:a16="http://schemas.microsoft.com/office/drawing/2014/main" id="{ADC6BDB4-C270-C82F-CF8A-EA9D56777795}"/>
                      </a:ext>
                    </a:extLst>
                  </p:cNvPr>
                  <p:cNvSpPr/>
                  <p:nvPr/>
                </p:nvSpPr>
                <p:spPr>
                  <a:xfrm flipH="1">
                    <a:off x="1240700" y="6215554"/>
                    <a:ext cx="175253" cy="838287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5" name="Rectángulo 104">
                    <a:extLst>
                      <a:ext uri="{FF2B5EF4-FFF2-40B4-BE49-F238E27FC236}">
                        <a16:creationId xmlns:a16="http://schemas.microsoft.com/office/drawing/2014/main" id="{B1552B99-D2AA-279B-C86C-54770DD2ECC1}"/>
                      </a:ext>
                    </a:extLst>
                  </p:cNvPr>
                  <p:cNvSpPr/>
                  <p:nvPr/>
                </p:nvSpPr>
                <p:spPr>
                  <a:xfrm flipH="1">
                    <a:off x="1350070" y="6174828"/>
                    <a:ext cx="175253" cy="1190076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97" name="CuadroTexto 96">
                  <a:extLst>
                    <a:ext uri="{FF2B5EF4-FFF2-40B4-BE49-F238E27FC236}">
                      <a16:creationId xmlns:a16="http://schemas.microsoft.com/office/drawing/2014/main" id="{8FD5C520-2A8B-0D16-0BDF-26D73B1AA8D2}"/>
                    </a:ext>
                  </a:extLst>
                </p:cNvPr>
                <p:cNvSpPr txBox="1"/>
                <p:nvPr/>
              </p:nvSpPr>
              <p:spPr>
                <a:xfrm>
                  <a:off x="468592" y="4293830"/>
                  <a:ext cx="582211" cy="24622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10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E66C64"/>
                      </a:solidFill>
                      <a:effectLst/>
                      <a:uLnTx/>
                      <a:uFillTx/>
                    </a:rPr>
                    <a:t>Cliente</a:t>
                  </a:r>
                </a:p>
              </p:txBody>
            </p:sp>
          </p:grpSp>
        </p:grpSp>
      </p:grpSp>
      <p:grpSp>
        <p:nvGrpSpPr>
          <p:cNvPr id="170" name="Grupo 169">
            <a:extLst>
              <a:ext uri="{FF2B5EF4-FFF2-40B4-BE49-F238E27FC236}">
                <a16:creationId xmlns:a16="http://schemas.microsoft.com/office/drawing/2014/main" id="{236393C4-0BB3-E629-B031-2815B1D07447}"/>
              </a:ext>
            </a:extLst>
          </p:cNvPr>
          <p:cNvGrpSpPr/>
          <p:nvPr/>
        </p:nvGrpSpPr>
        <p:grpSpPr>
          <a:xfrm>
            <a:off x="15168786" y="4861398"/>
            <a:ext cx="2802018" cy="3491584"/>
            <a:chOff x="11144207" y="2235623"/>
            <a:chExt cx="2802018" cy="3491584"/>
          </a:xfrm>
        </p:grpSpPr>
        <p:sp>
          <p:nvSpPr>
            <p:cNvPr id="7" name="Elipse 6">
              <a:extLst>
                <a:ext uri="{FF2B5EF4-FFF2-40B4-BE49-F238E27FC236}">
                  <a16:creationId xmlns:a16="http://schemas.microsoft.com/office/drawing/2014/main" id="{A3B41774-CDAB-110C-A1AD-E9583D8CD7A4}"/>
                </a:ext>
              </a:extLst>
            </p:cNvPr>
            <p:cNvSpPr/>
            <p:nvPr/>
          </p:nvSpPr>
          <p:spPr>
            <a:xfrm>
              <a:off x="11874008" y="2235623"/>
              <a:ext cx="1342417" cy="128996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3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fonica Sans" panose="02000003020000060003" pitchFamily="50" charset="0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22" name="Rectángulo: esquinas redondeadas 21">
              <a:extLst>
                <a:ext uri="{FF2B5EF4-FFF2-40B4-BE49-F238E27FC236}">
                  <a16:creationId xmlns:a16="http://schemas.microsoft.com/office/drawing/2014/main" id="{B46AA3C6-E767-D158-B01A-15D76B6721F7}"/>
                </a:ext>
              </a:extLst>
            </p:cNvPr>
            <p:cNvSpPr/>
            <p:nvPr/>
          </p:nvSpPr>
          <p:spPr>
            <a:xfrm>
              <a:off x="11193072" y="3524913"/>
              <a:ext cx="2704289" cy="1063592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0066FF"/>
                  </a:solidFill>
                  <a:effectLst/>
                  <a:uLnTx/>
                  <a:uFillTx/>
                  <a:latin typeface="Telefonica Sans" panose="02000003020000060003" pitchFamily="50" charset="0"/>
                  <a:ea typeface="+mn-ea"/>
                  <a:cs typeface="+mn-cs"/>
                </a:rPr>
                <a:t>Firma de Acuerdos de Prestación de Servicios</a:t>
              </a:r>
            </a:p>
          </p:txBody>
        </p:sp>
        <p:grpSp>
          <p:nvGrpSpPr>
            <p:cNvPr id="169" name="Grupo 168">
              <a:extLst>
                <a:ext uri="{FF2B5EF4-FFF2-40B4-BE49-F238E27FC236}">
                  <a16:creationId xmlns:a16="http://schemas.microsoft.com/office/drawing/2014/main" id="{FB7B439D-1C2D-00D7-C6A4-69955D3BDF36}"/>
                </a:ext>
              </a:extLst>
            </p:cNvPr>
            <p:cNvGrpSpPr/>
            <p:nvPr/>
          </p:nvGrpSpPr>
          <p:grpSpPr>
            <a:xfrm>
              <a:off x="11144207" y="4645765"/>
              <a:ext cx="2802018" cy="1081442"/>
              <a:chOff x="11144207" y="4645765"/>
              <a:chExt cx="2802018" cy="1081442"/>
            </a:xfrm>
          </p:grpSpPr>
          <p:sp>
            <p:nvSpPr>
              <p:cNvPr id="23" name="CuadroTexto 22">
                <a:extLst>
                  <a:ext uri="{FF2B5EF4-FFF2-40B4-BE49-F238E27FC236}">
                    <a16:creationId xmlns:a16="http://schemas.microsoft.com/office/drawing/2014/main" id="{75BD4AF6-B3EA-C280-2174-D815B290D2E4}"/>
                  </a:ext>
                </a:extLst>
              </p:cNvPr>
              <p:cNvSpPr txBox="1"/>
              <p:nvPr/>
            </p:nvSpPr>
            <p:spPr>
              <a:xfrm>
                <a:off x="11723602" y="4678655"/>
                <a:ext cx="2222623" cy="101566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>
                  <a:defRPr sz="1200" i="1">
                    <a:latin typeface="Arial" panose="020B0604020202020204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5077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200" b="0" i="1" u="none" strike="noStrike" kern="1200" cap="none" spc="0" normalizeH="0" baseline="0" noProof="0">
                    <a:ln>
                      <a:noFill/>
                    </a:ln>
                    <a:solidFill>
                      <a:srgbClr val="586179"/>
                    </a:solidFill>
                    <a:effectLst/>
                    <a:uLnTx/>
                    <a:uFillTx/>
                    <a:latin typeface="Telefonica Sans" panose="02000003020000060003" pitchFamily="50" charset="0"/>
                    <a:ea typeface="+mn-ea"/>
                    <a:cs typeface="Arial" panose="020B0604020202020204" pitchFamily="34" charset="0"/>
                  </a:rPr>
                  <a:t>Máximo 6 meses desde la concesión del bono. Un acuerdo por solución (Puesto Trabajo Seguro y Gestión Clientes u Oficina Virtual).</a:t>
                </a:r>
              </a:p>
            </p:txBody>
          </p:sp>
          <p:grpSp>
            <p:nvGrpSpPr>
              <p:cNvPr id="168" name="Grupo 167">
                <a:extLst>
                  <a:ext uri="{FF2B5EF4-FFF2-40B4-BE49-F238E27FC236}">
                    <a16:creationId xmlns:a16="http://schemas.microsoft.com/office/drawing/2014/main" id="{D67E9D70-1092-7401-6591-22979840AFB2}"/>
                  </a:ext>
                </a:extLst>
              </p:cNvPr>
              <p:cNvGrpSpPr/>
              <p:nvPr/>
            </p:nvGrpSpPr>
            <p:grpSpPr>
              <a:xfrm>
                <a:off x="11144207" y="4645765"/>
                <a:ext cx="582211" cy="1081442"/>
                <a:chOff x="11144207" y="4645765"/>
                <a:chExt cx="582211" cy="1081442"/>
              </a:xfrm>
            </p:grpSpPr>
            <p:grpSp>
              <p:nvGrpSpPr>
                <p:cNvPr id="106" name="Grupo 105">
                  <a:extLst>
                    <a:ext uri="{FF2B5EF4-FFF2-40B4-BE49-F238E27FC236}">
                      <a16:creationId xmlns:a16="http://schemas.microsoft.com/office/drawing/2014/main" id="{C5B6AA88-BCA4-BE57-AA5D-DD827C29A617}"/>
                    </a:ext>
                  </a:extLst>
                </p:cNvPr>
                <p:cNvGrpSpPr/>
                <p:nvPr/>
              </p:nvGrpSpPr>
              <p:grpSpPr>
                <a:xfrm>
                  <a:off x="11144207" y="4645765"/>
                  <a:ext cx="582211" cy="633043"/>
                  <a:chOff x="468592" y="3907008"/>
                  <a:chExt cx="582211" cy="633043"/>
                </a:xfrm>
              </p:grpSpPr>
              <p:grpSp>
                <p:nvGrpSpPr>
                  <p:cNvPr id="108" name="Grupo 107">
                    <a:extLst>
                      <a:ext uri="{FF2B5EF4-FFF2-40B4-BE49-F238E27FC236}">
                        <a16:creationId xmlns:a16="http://schemas.microsoft.com/office/drawing/2014/main" id="{5A4562E7-54D9-28FC-1F91-E9CDBA8EEC60}"/>
                      </a:ext>
                    </a:extLst>
                  </p:cNvPr>
                  <p:cNvGrpSpPr/>
                  <p:nvPr/>
                </p:nvGrpSpPr>
                <p:grpSpPr>
                  <a:xfrm>
                    <a:off x="517386" y="3907008"/>
                    <a:ext cx="519685" cy="457200"/>
                    <a:chOff x="-1393931" y="5919623"/>
                    <a:chExt cx="2919254" cy="2568255"/>
                  </a:xfrm>
                </p:grpSpPr>
                <p:pic>
                  <p:nvPicPr>
                    <p:cNvPr id="110" name="Gráfico 109" descr="Firma contorno">
                      <a:extLst>
                        <a:ext uri="{FF2B5EF4-FFF2-40B4-BE49-F238E27FC236}">
                          <a16:creationId xmlns:a16="http://schemas.microsoft.com/office/drawing/2014/main" id="{4166D0CE-9576-B97A-C1F0-2639DD099E85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5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6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-1393931" y="5919623"/>
                      <a:ext cx="2767660" cy="2568255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111" name="Triángulo isósceles 110">
                      <a:extLst>
                        <a:ext uri="{FF2B5EF4-FFF2-40B4-BE49-F238E27FC236}">
                          <a16:creationId xmlns:a16="http://schemas.microsoft.com/office/drawing/2014/main" id="{219402EB-BB75-8E85-C3D8-3657E0CEECBE}"/>
                        </a:ext>
                      </a:extLst>
                    </p:cNvPr>
                    <p:cNvSpPr/>
                    <p:nvPr/>
                  </p:nvSpPr>
                  <p:spPr>
                    <a:xfrm rot="527976">
                      <a:off x="673768" y="6210527"/>
                      <a:ext cx="608783" cy="747062"/>
                    </a:xfrm>
                    <a:prstGeom prst="triangle">
                      <a:avLst>
                        <a:gd name="adj" fmla="val 100000"/>
                      </a:avLst>
                    </a:prstGeom>
                    <a:solidFill>
                      <a:schemeClr val="accent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12" name="Triángulo isósceles 111">
                      <a:extLst>
                        <a:ext uri="{FF2B5EF4-FFF2-40B4-BE49-F238E27FC236}">
                          <a16:creationId xmlns:a16="http://schemas.microsoft.com/office/drawing/2014/main" id="{8D08A933-ED05-11B5-38B8-4224AF594F0D}"/>
                        </a:ext>
                      </a:extLst>
                    </p:cNvPr>
                    <p:cNvSpPr/>
                    <p:nvPr/>
                  </p:nvSpPr>
                  <p:spPr>
                    <a:xfrm rot="2871093">
                      <a:off x="818964" y="6657460"/>
                      <a:ext cx="608783" cy="576599"/>
                    </a:xfrm>
                    <a:prstGeom prst="triangle">
                      <a:avLst>
                        <a:gd name="adj" fmla="val 92913"/>
                      </a:avLst>
                    </a:prstGeom>
                    <a:solidFill>
                      <a:schemeClr val="accent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13" name="Rectángulo 112">
                      <a:extLst>
                        <a:ext uri="{FF2B5EF4-FFF2-40B4-BE49-F238E27FC236}">
                          <a16:creationId xmlns:a16="http://schemas.microsoft.com/office/drawing/2014/main" id="{3CCC9922-4545-89AF-A6B2-64A06104878C}"/>
                        </a:ext>
                      </a:extLst>
                    </p:cNvPr>
                    <p:cNvSpPr/>
                    <p:nvPr/>
                  </p:nvSpPr>
                  <p:spPr>
                    <a:xfrm flipH="1">
                      <a:off x="1240700" y="6215554"/>
                      <a:ext cx="175253" cy="838287"/>
                    </a:xfrm>
                    <a:prstGeom prst="rect">
                      <a:avLst/>
                    </a:prstGeom>
                    <a:solidFill>
                      <a:schemeClr val="accent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14" name="Rectángulo 113">
                      <a:extLst>
                        <a:ext uri="{FF2B5EF4-FFF2-40B4-BE49-F238E27FC236}">
                          <a16:creationId xmlns:a16="http://schemas.microsoft.com/office/drawing/2014/main" id="{07819785-41B0-9137-DDB1-0DFDA8CEED1C}"/>
                        </a:ext>
                      </a:extLst>
                    </p:cNvPr>
                    <p:cNvSpPr/>
                    <p:nvPr/>
                  </p:nvSpPr>
                  <p:spPr>
                    <a:xfrm flipH="1">
                      <a:off x="1350070" y="6174828"/>
                      <a:ext cx="175253" cy="1190076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09" name="CuadroTexto 108">
                    <a:extLst>
                      <a:ext uri="{FF2B5EF4-FFF2-40B4-BE49-F238E27FC236}">
                        <a16:creationId xmlns:a16="http://schemas.microsoft.com/office/drawing/2014/main" id="{32AF0BDD-8DC4-2F13-4F94-3ACE48181AA9}"/>
                      </a:ext>
                    </a:extLst>
                  </p:cNvPr>
                  <p:cNvSpPr txBox="1"/>
                  <p:nvPr/>
                </p:nvSpPr>
                <p:spPr>
                  <a:xfrm>
                    <a:off x="468592" y="4293830"/>
                    <a:ext cx="582211" cy="246221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non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s-ES" sz="1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E66C64"/>
                        </a:solidFill>
                        <a:effectLst/>
                        <a:uLnTx/>
                        <a:uFillTx/>
                      </a:rPr>
                      <a:t>Cliente</a:t>
                    </a:r>
                  </a:p>
                </p:txBody>
              </p:sp>
            </p:grpSp>
            <p:grpSp>
              <p:nvGrpSpPr>
                <p:cNvPr id="115" name="Grupo 114">
                  <a:extLst>
                    <a:ext uri="{FF2B5EF4-FFF2-40B4-BE49-F238E27FC236}">
                      <a16:creationId xmlns:a16="http://schemas.microsoft.com/office/drawing/2014/main" id="{267B34F0-3EB2-8B32-3947-0C2A14E7920D}"/>
                    </a:ext>
                  </a:extLst>
                </p:cNvPr>
                <p:cNvGrpSpPr/>
                <p:nvPr/>
              </p:nvGrpSpPr>
              <p:grpSpPr>
                <a:xfrm>
                  <a:off x="11144207" y="5094164"/>
                  <a:ext cx="582211" cy="633043"/>
                  <a:chOff x="468592" y="3907008"/>
                  <a:chExt cx="582211" cy="633043"/>
                </a:xfrm>
              </p:grpSpPr>
              <p:grpSp>
                <p:nvGrpSpPr>
                  <p:cNvPr id="116" name="Grupo 115">
                    <a:extLst>
                      <a:ext uri="{FF2B5EF4-FFF2-40B4-BE49-F238E27FC236}">
                        <a16:creationId xmlns:a16="http://schemas.microsoft.com/office/drawing/2014/main" id="{8317852F-3596-1156-C1FF-60B189FE2461}"/>
                      </a:ext>
                    </a:extLst>
                  </p:cNvPr>
                  <p:cNvGrpSpPr/>
                  <p:nvPr/>
                </p:nvGrpSpPr>
                <p:grpSpPr>
                  <a:xfrm>
                    <a:off x="517386" y="3907008"/>
                    <a:ext cx="519685" cy="457200"/>
                    <a:chOff x="-1393931" y="5919623"/>
                    <a:chExt cx="2919254" cy="2568255"/>
                  </a:xfrm>
                </p:grpSpPr>
                <p:pic>
                  <p:nvPicPr>
                    <p:cNvPr id="118" name="Gráfico 117" descr="Firma contorno">
                      <a:extLst>
                        <a:ext uri="{FF2B5EF4-FFF2-40B4-BE49-F238E27FC236}">
                          <a16:creationId xmlns:a16="http://schemas.microsoft.com/office/drawing/2014/main" id="{1F61F912-6B34-0842-5EBC-B4DCEDDA1B7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5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6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-1393931" y="5919623"/>
                      <a:ext cx="2767660" cy="2568255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119" name="Triángulo isósceles 118">
                      <a:extLst>
                        <a:ext uri="{FF2B5EF4-FFF2-40B4-BE49-F238E27FC236}">
                          <a16:creationId xmlns:a16="http://schemas.microsoft.com/office/drawing/2014/main" id="{51F0AA46-B45D-F589-0663-71A33D0EBAB3}"/>
                        </a:ext>
                      </a:extLst>
                    </p:cNvPr>
                    <p:cNvSpPr/>
                    <p:nvPr/>
                  </p:nvSpPr>
                  <p:spPr>
                    <a:xfrm rot="527976">
                      <a:off x="673768" y="6210527"/>
                      <a:ext cx="608783" cy="747062"/>
                    </a:xfrm>
                    <a:prstGeom prst="triangle">
                      <a:avLst>
                        <a:gd name="adj" fmla="val 100000"/>
                      </a:avLst>
                    </a:prstGeom>
                    <a:solidFill>
                      <a:schemeClr val="accent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20" name="Triángulo isósceles 119">
                      <a:extLst>
                        <a:ext uri="{FF2B5EF4-FFF2-40B4-BE49-F238E27FC236}">
                          <a16:creationId xmlns:a16="http://schemas.microsoft.com/office/drawing/2014/main" id="{9C7719EE-81EB-FF8A-588B-DB0AE66410A6}"/>
                        </a:ext>
                      </a:extLst>
                    </p:cNvPr>
                    <p:cNvSpPr/>
                    <p:nvPr/>
                  </p:nvSpPr>
                  <p:spPr>
                    <a:xfrm rot="2871093">
                      <a:off x="818964" y="6657460"/>
                      <a:ext cx="608783" cy="576599"/>
                    </a:xfrm>
                    <a:prstGeom prst="triangle">
                      <a:avLst>
                        <a:gd name="adj" fmla="val 92913"/>
                      </a:avLst>
                    </a:prstGeom>
                    <a:solidFill>
                      <a:schemeClr val="accent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21" name="Rectángulo 120">
                      <a:extLst>
                        <a:ext uri="{FF2B5EF4-FFF2-40B4-BE49-F238E27FC236}">
                          <a16:creationId xmlns:a16="http://schemas.microsoft.com/office/drawing/2014/main" id="{9B237F68-84F4-0DC6-17DF-EBBB49B2DF61}"/>
                        </a:ext>
                      </a:extLst>
                    </p:cNvPr>
                    <p:cNvSpPr/>
                    <p:nvPr/>
                  </p:nvSpPr>
                  <p:spPr>
                    <a:xfrm flipH="1">
                      <a:off x="1240700" y="6215554"/>
                      <a:ext cx="175253" cy="838287"/>
                    </a:xfrm>
                    <a:prstGeom prst="rect">
                      <a:avLst/>
                    </a:prstGeom>
                    <a:solidFill>
                      <a:schemeClr val="accent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22" name="Rectángulo 121">
                      <a:extLst>
                        <a:ext uri="{FF2B5EF4-FFF2-40B4-BE49-F238E27FC236}">
                          <a16:creationId xmlns:a16="http://schemas.microsoft.com/office/drawing/2014/main" id="{5CCB589B-426E-2C34-B099-60AAD1E05B17}"/>
                        </a:ext>
                      </a:extLst>
                    </p:cNvPr>
                    <p:cNvSpPr/>
                    <p:nvPr/>
                  </p:nvSpPr>
                  <p:spPr>
                    <a:xfrm flipH="1">
                      <a:off x="1350070" y="6174828"/>
                      <a:ext cx="175253" cy="1190076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17" name="CuadroTexto 116">
                    <a:extLst>
                      <a:ext uri="{FF2B5EF4-FFF2-40B4-BE49-F238E27FC236}">
                        <a16:creationId xmlns:a16="http://schemas.microsoft.com/office/drawing/2014/main" id="{E93CBAB4-E679-D32C-2002-8FFC110DD40F}"/>
                      </a:ext>
                    </a:extLst>
                  </p:cNvPr>
                  <p:cNvSpPr txBox="1"/>
                  <p:nvPr/>
                </p:nvSpPr>
                <p:spPr>
                  <a:xfrm>
                    <a:off x="468592" y="4293830"/>
                    <a:ext cx="582211" cy="246221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non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s-ES" sz="1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E66C64"/>
                        </a:solidFill>
                        <a:effectLst/>
                        <a:uLnTx/>
                        <a:uFillTx/>
                      </a:rPr>
                      <a:t>Cliente</a:t>
                    </a:r>
                  </a:p>
                </p:txBody>
              </p:sp>
            </p:grpSp>
          </p:grpSp>
        </p:grpSp>
      </p:grpSp>
      <p:grpSp>
        <p:nvGrpSpPr>
          <p:cNvPr id="179" name="Grupo 178">
            <a:extLst>
              <a:ext uri="{FF2B5EF4-FFF2-40B4-BE49-F238E27FC236}">
                <a16:creationId xmlns:a16="http://schemas.microsoft.com/office/drawing/2014/main" id="{90B262F1-F5CF-5C55-C3AD-599D80FC8E08}"/>
              </a:ext>
            </a:extLst>
          </p:cNvPr>
          <p:cNvGrpSpPr/>
          <p:nvPr/>
        </p:nvGrpSpPr>
        <p:grpSpPr>
          <a:xfrm>
            <a:off x="3029689" y="7859710"/>
            <a:ext cx="3481569" cy="3475060"/>
            <a:chOff x="8650830" y="5215010"/>
            <a:chExt cx="3481569" cy="3475060"/>
          </a:xfrm>
        </p:grpSpPr>
        <p:sp>
          <p:nvSpPr>
            <p:cNvPr id="11" name="Elipse 10">
              <a:extLst>
                <a:ext uri="{FF2B5EF4-FFF2-40B4-BE49-F238E27FC236}">
                  <a16:creationId xmlns:a16="http://schemas.microsoft.com/office/drawing/2014/main" id="{C88ED057-C385-578B-C874-E011C23C8F2C}"/>
                </a:ext>
              </a:extLst>
            </p:cNvPr>
            <p:cNvSpPr/>
            <p:nvPr/>
          </p:nvSpPr>
          <p:spPr>
            <a:xfrm>
              <a:off x="9720406" y="5215010"/>
              <a:ext cx="1342417" cy="128996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3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fonica Sans" panose="02000003020000060003" pitchFamily="50" charset="0"/>
                  <a:ea typeface="+mn-ea"/>
                  <a:cs typeface="+mn-cs"/>
                </a:rPr>
                <a:t>7</a:t>
              </a:r>
            </a:p>
          </p:txBody>
        </p:sp>
        <p:sp>
          <p:nvSpPr>
            <p:cNvPr id="80" name="Rectángulo: esquinas redondeadas 79">
              <a:extLst>
                <a:ext uri="{FF2B5EF4-FFF2-40B4-BE49-F238E27FC236}">
                  <a16:creationId xmlns:a16="http://schemas.microsoft.com/office/drawing/2014/main" id="{9EE6661C-E93A-7295-EBAE-B33F86113DB2}"/>
                </a:ext>
              </a:extLst>
            </p:cNvPr>
            <p:cNvSpPr/>
            <p:nvPr/>
          </p:nvSpPr>
          <p:spPr>
            <a:xfrm>
              <a:off x="9039470" y="6544201"/>
              <a:ext cx="2704289" cy="1063592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0066FF"/>
                  </a:solidFill>
                  <a:effectLst/>
                  <a:uLnTx/>
                  <a:uFillTx/>
                  <a:latin typeface="Telefonica Sans" panose="02000003020000060003" pitchFamily="50" charset="0"/>
                  <a:ea typeface="+mn-ea"/>
                  <a:cs typeface="+mn-cs"/>
                </a:rPr>
                <a:t>Justificación fase I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0066FF"/>
                  </a:solidFill>
                  <a:effectLst/>
                  <a:uLnTx/>
                  <a:uFillTx/>
                  <a:latin typeface="Telefonica Sans" panose="02000003020000060003" pitchFamily="50" charset="0"/>
                  <a:ea typeface="+mn-ea"/>
                  <a:cs typeface="+mn-cs"/>
                </a:rPr>
                <a:t>(Instalación)</a:t>
              </a:r>
            </a:p>
          </p:txBody>
        </p:sp>
        <p:grpSp>
          <p:nvGrpSpPr>
            <p:cNvPr id="178" name="Grupo 177">
              <a:extLst>
                <a:ext uri="{FF2B5EF4-FFF2-40B4-BE49-F238E27FC236}">
                  <a16:creationId xmlns:a16="http://schemas.microsoft.com/office/drawing/2014/main" id="{35E37A5F-FEF7-BB04-987A-86FFD3539DE6}"/>
                </a:ext>
              </a:extLst>
            </p:cNvPr>
            <p:cNvGrpSpPr/>
            <p:nvPr/>
          </p:nvGrpSpPr>
          <p:grpSpPr>
            <a:xfrm>
              <a:off x="8650830" y="7635522"/>
              <a:ext cx="3481569" cy="1054548"/>
              <a:chOff x="8650830" y="7635522"/>
              <a:chExt cx="3481569" cy="1054548"/>
            </a:xfrm>
          </p:grpSpPr>
          <p:sp>
            <p:nvSpPr>
              <p:cNvPr id="83" name="CuadroTexto 82">
                <a:extLst>
                  <a:ext uri="{FF2B5EF4-FFF2-40B4-BE49-F238E27FC236}">
                    <a16:creationId xmlns:a16="http://schemas.microsoft.com/office/drawing/2014/main" id="{C89E3E5E-D66F-201A-223F-4B5BCC216114}"/>
                  </a:ext>
                </a:extLst>
              </p:cNvPr>
              <p:cNvSpPr txBox="1"/>
              <p:nvPr/>
            </p:nvSpPr>
            <p:spPr>
              <a:xfrm>
                <a:off x="9199838" y="7654965"/>
                <a:ext cx="2932561" cy="101566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>
                  <a:defRPr sz="1200" i="1">
                    <a:latin typeface="Arial" panose="020B0604020202020204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5077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200" b="0" i="1" u="none" strike="noStrike" kern="1200" cap="none" spc="0" normalizeH="0" baseline="0" noProof="0">
                    <a:ln>
                      <a:noFill/>
                    </a:ln>
                    <a:solidFill>
                      <a:srgbClr val="586179"/>
                    </a:solidFill>
                    <a:effectLst/>
                    <a:uLnTx/>
                    <a:uFillTx/>
                    <a:latin typeface="Telefonica Sans" panose="02000003020000060003" pitchFamily="50" charset="0"/>
                    <a:ea typeface="+mn-ea"/>
                    <a:cs typeface="Arial" panose="020B0604020202020204" pitchFamily="34" charset="0"/>
                  </a:rPr>
                  <a:t>Telefónica presenta evidencias de la instalación en el plazo de 6 meses desde la validación de cada acuerdo. Conformidad expresa beneficiario de las soluciones.</a:t>
                </a:r>
              </a:p>
            </p:txBody>
          </p:sp>
          <p:grpSp>
            <p:nvGrpSpPr>
              <p:cNvPr id="177" name="Grupo 176">
                <a:extLst>
                  <a:ext uri="{FF2B5EF4-FFF2-40B4-BE49-F238E27FC236}">
                    <a16:creationId xmlns:a16="http://schemas.microsoft.com/office/drawing/2014/main" id="{99A11AA1-E1D8-5153-1012-42E6A4242F90}"/>
                  </a:ext>
                </a:extLst>
              </p:cNvPr>
              <p:cNvGrpSpPr/>
              <p:nvPr/>
            </p:nvGrpSpPr>
            <p:grpSpPr>
              <a:xfrm>
                <a:off x="8650830" y="7635522"/>
                <a:ext cx="601237" cy="1054548"/>
                <a:chOff x="8650830" y="7650971"/>
                <a:chExt cx="601237" cy="1054548"/>
              </a:xfrm>
            </p:grpSpPr>
            <p:grpSp>
              <p:nvGrpSpPr>
                <p:cNvPr id="124" name="Grupo 123">
                  <a:extLst>
                    <a:ext uri="{FF2B5EF4-FFF2-40B4-BE49-F238E27FC236}">
                      <a16:creationId xmlns:a16="http://schemas.microsoft.com/office/drawing/2014/main" id="{8EDD039E-7861-8C72-B2A0-61F0AF8566D2}"/>
                    </a:ext>
                  </a:extLst>
                </p:cNvPr>
                <p:cNvGrpSpPr/>
                <p:nvPr/>
              </p:nvGrpSpPr>
              <p:grpSpPr>
                <a:xfrm>
                  <a:off x="8650830" y="7650971"/>
                  <a:ext cx="582211" cy="633043"/>
                  <a:chOff x="468592" y="3907008"/>
                  <a:chExt cx="582211" cy="633043"/>
                </a:xfrm>
              </p:grpSpPr>
              <p:grpSp>
                <p:nvGrpSpPr>
                  <p:cNvPr id="125" name="Grupo 124">
                    <a:extLst>
                      <a:ext uri="{FF2B5EF4-FFF2-40B4-BE49-F238E27FC236}">
                        <a16:creationId xmlns:a16="http://schemas.microsoft.com/office/drawing/2014/main" id="{30A97A8B-E127-20E9-A40B-A437F89D8300}"/>
                      </a:ext>
                    </a:extLst>
                  </p:cNvPr>
                  <p:cNvGrpSpPr/>
                  <p:nvPr/>
                </p:nvGrpSpPr>
                <p:grpSpPr>
                  <a:xfrm>
                    <a:off x="517386" y="3907008"/>
                    <a:ext cx="519685" cy="457200"/>
                    <a:chOff x="-1393931" y="5919623"/>
                    <a:chExt cx="2919254" cy="2568255"/>
                  </a:xfrm>
                </p:grpSpPr>
                <p:pic>
                  <p:nvPicPr>
                    <p:cNvPr id="127" name="Gráfico 126" descr="Firma contorno">
                      <a:extLst>
                        <a:ext uri="{FF2B5EF4-FFF2-40B4-BE49-F238E27FC236}">
                          <a16:creationId xmlns:a16="http://schemas.microsoft.com/office/drawing/2014/main" id="{4FBBF682-D7BB-A720-F00F-00CB49D8057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5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6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-1393931" y="5919623"/>
                      <a:ext cx="2767660" cy="2568255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128" name="Triángulo isósceles 127">
                      <a:extLst>
                        <a:ext uri="{FF2B5EF4-FFF2-40B4-BE49-F238E27FC236}">
                          <a16:creationId xmlns:a16="http://schemas.microsoft.com/office/drawing/2014/main" id="{0A42D19B-50C1-B338-2BBB-6E7F4076E3D9}"/>
                        </a:ext>
                      </a:extLst>
                    </p:cNvPr>
                    <p:cNvSpPr/>
                    <p:nvPr/>
                  </p:nvSpPr>
                  <p:spPr>
                    <a:xfrm rot="527976">
                      <a:off x="673768" y="6210527"/>
                      <a:ext cx="608783" cy="747062"/>
                    </a:xfrm>
                    <a:prstGeom prst="triangle">
                      <a:avLst>
                        <a:gd name="adj" fmla="val 100000"/>
                      </a:avLst>
                    </a:prstGeom>
                    <a:solidFill>
                      <a:schemeClr val="accent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29" name="Triángulo isósceles 128">
                      <a:extLst>
                        <a:ext uri="{FF2B5EF4-FFF2-40B4-BE49-F238E27FC236}">
                          <a16:creationId xmlns:a16="http://schemas.microsoft.com/office/drawing/2014/main" id="{96B165D4-F102-A667-DF25-E82A8206F611}"/>
                        </a:ext>
                      </a:extLst>
                    </p:cNvPr>
                    <p:cNvSpPr/>
                    <p:nvPr/>
                  </p:nvSpPr>
                  <p:spPr>
                    <a:xfrm rot="2871093">
                      <a:off x="818964" y="6657460"/>
                      <a:ext cx="608783" cy="576599"/>
                    </a:xfrm>
                    <a:prstGeom prst="triangle">
                      <a:avLst>
                        <a:gd name="adj" fmla="val 92913"/>
                      </a:avLst>
                    </a:prstGeom>
                    <a:solidFill>
                      <a:schemeClr val="accent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30" name="Rectángulo 129">
                      <a:extLst>
                        <a:ext uri="{FF2B5EF4-FFF2-40B4-BE49-F238E27FC236}">
                          <a16:creationId xmlns:a16="http://schemas.microsoft.com/office/drawing/2014/main" id="{BC36A750-96F1-4A9F-BA39-D4630BB29DA5}"/>
                        </a:ext>
                      </a:extLst>
                    </p:cNvPr>
                    <p:cNvSpPr/>
                    <p:nvPr/>
                  </p:nvSpPr>
                  <p:spPr>
                    <a:xfrm flipH="1">
                      <a:off x="1240700" y="6215554"/>
                      <a:ext cx="175253" cy="838287"/>
                    </a:xfrm>
                    <a:prstGeom prst="rect">
                      <a:avLst/>
                    </a:prstGeom>
                    <a:solidFill>
                      <a:schemeClr val="accent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31" name="Rectángulo 130">
                      <a:extLst>
                        <a:ext uri="{FF2B5EF4-FFF2-40B4-BE49-F238E27FC236}">
                          <a16:creationId xmlns:a16="http://schemas.microsoft.com/office/drawing/2014/main" id="{C1087125-276B-FBC1-EBD3-8109E1AD6F6E}"/>
                        </a:ext>
                      </a:extLst>
                    </p:cNvPr>
                    <p:cNvSpPr/>
                    <p:nvPr/>
                  </p:nvSpPr>
                  <p:spPr>
                    <a:xfrm flipH="1">
                      <a:off x="1350070" y="6174828"/>
                      <a:ext cx="175253" cy="1190076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26" name="CuadroTexto 125">
                    <a:extLst>
                      <a:ext uri="{FF2B5EF4-FFF2-40B4-BE49-F238E27FC236}">
                        <a16:creationId xmlns:a16="http://schemas.microsoft.com/office/drawing/2014/main" id="{A58F4D1C-7240-FB61-86F5-5426128C7CEF}"/>
                      </a:ext>
                    </a:extLst>
                  </p:cNvPr>
                  <p:cNvSpPr txBox="1"/>
                  <p:nvPr/>
                </p:nvSpPr>
                <p:spPr>
                  <a:xfrm>
                    <a:off x="468592" y="4293830"/>
                    <a:ext cx="582211" cy="246221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non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s-ES" sz="1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E66C64"/>
                        </a:solidFill>
                        <a:effectLst/>
                        <a:uLnTx/>
                        <a:uFillTx/>
                      </a:rPr>
                      <a:t>Cliente</a:t>
                    </a:r>
                  </a:p>
                </p:txBody>
              </p:sp>
            </p:grpSp>
            <p:grpSp>
              <p:nvGrpSpPr>
                <p:cNvPr id="132" name="Grupo 131">
                  <a:extLst>
                    <a:ext uri="{FF2B5EF4-FFF2-40B4-BE49-F238E27FC236}">
                      <a16:creationId xmlns:a16="http://schemas.microsoft.com/office/drawing/2014/main" id="{2C302D71-504C-31A8-07B8-E813E6B58E33}"/>
                    </a:ext>
                  </a:extLst>
                </p:cNvPr>
                <p:cNvGrpSpPr/>
                <p:nvPr/>
              </p:nvGrpSpPr>
              <p:grpSpPr>
                <a:xfrm>
                  <a:off x="8669856" y="8072476"/>
                  <a:ext cx="582211" cy="633043"/>
                  <a:chOff x="468592" y="3907008"/>
                  <a:chExt cx="582211" cy="633043"/>
                </a:xfrm>
              </p:grpSpPr>
              <p:grpSp>
                <p:nvGrpSpPr>
                  <p:cNvPr id="133" name="Grupo 132">
                    <a:extLst>
                      <a:ext uri="{FF2B5EF4-FFF2-40B4-BE49-F238E27FC236}">
                        <a16:creationId xmlns:a16="http://schemas.microsoft.com/office/drawing/2014/main" id="{C8FF8F97-6607-CC62-F556-93DC9E22B145}"/>
                      </a:ext>
                    </a:extLst>
                  </p:cNvPr>
                  <p:cNvGrpSpPr/>
                  <p:nvPr/>
                </p:nvGrpSpPr>
                <p:grpSpPr>
                  <a:xfrm>
                    <a:off x="517386" y="3907008"/>
                    <a:ext cx="519685" cy="457200"/>
                    <a:chOff x="-1393931" y="5919623"/>
                    <a:chExt cx="2919254" cy="2568255"/>
                  </a:xfrm>
                </p:grpSpPr>
                <p:pic>
                  <p:nvPicPr>
                    <p:cNvPr id="135" name="Gráfico 134" descr="Firma contorno">
                      <a:extLst>
                        <a:ext uri="{FF2B5EF4-FFF2-40B4-BE49-F238E27FC236}">
                          <a16:creationId xmlns:a16="http://schemas.microsoft.com/office/drawing/2014/main" id="{B2467229-DB37-7FC2-C1AB-214C6E54713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5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6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-1393931" y="5919623"/>
                      <a:ext cx="2767660" cy="2568255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136" name="Triángulo isósceles 135">
                      <a:extLst>
                        <a:ext uri="{FF2B5EF4-FFF2-40B4-BE49-F238E27FC236}">
                          <a16:creationId xmlns:a16="http://schemas.microsoft.com/office/drawing/2014/main" id="{80A1CB10-0C60-898D-AA63-BD4AAA7D0C21}"/>
                        </a:ext>
                      </a:extLst>
                    </p:cNvPr>
                    <p:cNvSpPr/>
                    <p:nvPr/>
                  </p:nvSpPr>
                  <p:spPr>
                    <a:xfrm rot="527976">
                      <a:off x="673768" y="6210527"/>
                      <a:ext cx="608783" cy="747062"/>
                    </a:xfrm>
                    <a:prstGeom prst="triangle">
                      <a:avLst>
                        <a:gd name="adj" fmla="val 100000"/>
                      </a:avLst>
                    </a:prstGeom>
                    <a:solidFill>
                      <a:schemeClr val="accent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37" name="Triángulo isósceles 136">
                      <a:extLst>
                        <a:ext uri="{FF2B5EF4-FFF2-40B4-BE49-F238E27FC236}">
                          <a16:creationId xmlns:a16="http://schemas.microsoft.com/office/drawing/2014/main" id="{DE9700B5-1FBE-924E-3B58-DA05F0D5D40E}"/>
                        </a:ext>
                      </a:extLst>
                    </p:cNvPr>
                    <p:cNvSpPr/>
                    <p:nvPr/>
                  </p:nvSpPr>
                  <p:spPr>
                    <a:xfrm rot="2871093">
                      <a:off x="818964" y="6657460"/>
                      <a:ext cx="608783" cy="576599"/>
                    </a:xfrm>
                    <a:prstGeom prst="triangle">
                      <a:avLst>
                        <a:gd name="adj" fmla="val 92913"/>
                      </a:avLst>
                    </a:prstGeom>
                    <a:solidFill>
                      <a:schemeClr val="accent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38" name="Rectángulo 137">
                      <a:extLst>
                        <a:ext uri="{FF2B5EF4-FFF2-40B4-BE49-F238E27FC236}">
                          <a16:creationId xmlns:a16="http://schemas.microsoft.com/office/drawing/2014/main" id="{61A6CC66-D335-CFA7-E53E-3E63EB6F7254}"/>
                        </a:ext>
                      </a:extLst>
                    </p:cNvPr>
                    <p:cNvSpPr/>
                    <p:nvPr/>
                  </p:nvSpPr>
                  <p:spPr>
                    <a:xfrm flipH="1">
                      <a:off x="1240700" y="6215554"/>
                      <a:ext cx="175253" cy="838287"/>
                    </a:xfrm>
                    <a:prstGeom prst="rect">
                      <a:avLst/>
                    </a:prstGeom>
                    <a:solidFill>
                      <a:schemeClr val="accent5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39" name="Rectángulo 138">
                      <a:extLst>
                        <a:ext uri="{FF2B5EF4-FFF2-40B4-BE49-F238E27FC236}">
                          <a16:creationId xmlns:a16="http://schemas.microsoft.com/office/drawing/2014/main" id="{96DB7F3F-1F13-ADCD-7C2E-4448597591C3}"/>
                        </a:ext>
                      </a:extLst>
                    </p:cNvPr>
                    <p:cNvSpPr/>
                    <p:nvPr/>
                  </p:nvSpPr>
                  <p:spPr>
                    <a:xfrm flipH="1">
                      <a:off x="1350070" y="6174828"/>
                      <a:ext cx="175253" cy="1190076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34" name="CuadroTexto 133">
                    <a:extLst>
                      <a:ext uri="{FF2B5EF4-FFF2-40B4-BE49-F238E27FC236}">
                        <a16:creationId xmlns:a16="http://schemas.microsoft.com/office/drawing/2014/main" id="{2756880C-57B7-64E5-07C1-FA2483C80EE5}"/>
                      </a:ext>
                    </a:extLst>
                  </p:cNvPr>
                  <p:cNvSpPr txBox="1"/>
                  <p:nvPr/>
                </p:nvSpPr>
                <p:spPr>
                  <a:xfrm>
                    <a:off x="468592" y="4293830"/>
                    <a:ext cx="582211" cy="246221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none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s-ES" sz="1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E66C64"/>
                        </a:solidFill>
                        <a:effectLst/>
                        <a:uLnTx/>
                        <a:uFillTx/>
                      </a:rPr>
                      <a:t>Cliente</a:t>
                    </a:r>
                  </a:p>
                </p:txBody>
              </p:sp>
            </p:grpSp>
          </p:grpSp>
        </p:grpSp>
      </p:grpSp>
      <p:grpSp>
        <p:nvGrpSpPr>
          <p:cNvPr id="33" name="Grupo 32">
            <a:extLst>
              <a:ext uri="{FF2B5EF4-FFF2-40B4-BE49-F238E27FC236}">
                <a16:creationId xmlns:a16="http://schemas.microsoft.com/office/drawing/2014/main" id="{EF778955-232F-FB35-8B80-D2057C4BBF53}"/>
              </a:ext>
            </a:extLst>
          </p:cNvPr>
          <p:cNvGrpSpPr/>
          <p:nvPr/>
        </p:nvGrpSpPr>
        <p:grpSpPr>
          <a:xfrm>
            <a:off x="12104403" y="7930255"/>
            <a:ext cx="4004575" cy="3120164"/>
            <a:chOff x="12104403" y="7930255"/>
            <a:chExt cx="4004575" cy="3120164"/>
          </a:xfrm>
        </p:grpSpPr>
        <p:sp>
          <p:nvSpPr>
            <p:cNvPr id="14" name="Elipse 13">
              <a:extLst>
                <a:ext uri="{FF2B5EF4-FFF2-40B4-BE49-F238E27FC236}">
                  <a16:creationId xmlns:a16="http://schemas.microsoft.com/office/drawing/2014/main" id="{5948EA48-AE81-CE56-578F-AA5FEBC55171}"/>
                </a:ext>
              </a:extLst>
            </p:cNvPr>
            <p:cNvSpPr/>
            <p:nvPr/>
          </p:nvSpPr>
          <p:spPr>
            <a:xfrm>
              <a:off x="13435482" y="7930255"/>
              <a:ext cx="1342417" cy="128996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3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fonica Sans" panose="02000003020000060003" pitchFamily="50" charset="0"/>
                  <a:ea typeface="+mn-ea"/>
                  <a:cs typeface="+mn-cs"/>
                </a:rPr>
                <a:t>9</a:t>
              </a:r>
            </a:p>
          </p:txBody>
        </p:sp>
        <p:sp>
          <p:nvSpPr>
            <p:cNvPr id="102" name="Rectángulo: esquinas redondeadas 101">
              <a:extLst>
                <a:ext uri="{FF2B5EF4-FFF2-40B4-BE49-F238E27FC236}">
                  <a16:creationId xmlns:a16="http://schemas.microsoft.com/office/drawing/2014/main" id="{5C432D26-BD6F-F99A-E063-335599B9D86F}"/>
                </a:ext>
              </a:extLst>
            </p:cNvPr>
            <p:cNvSpPr/>
            <p:nvPr/>
          </p:nvSpPr>
          <p:spPr>
            <a:xfrm>
              <a:off x="12510468" y="9290001"/>
              <a:ext cx="3192445" cy="715215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0066FF"/>
                  </a:solidFill>
                  <a:effectLst/>
                  <a:uLnTx/>
                  <a:uFillTx/>
                  <a:latin typeface="Telefonica Sans" panose="02000003020000060003" pitchFamily="50" charset="0"/>
                  <a:ea typeface="+mn-ea"/>
                  <a:cs typeface="+mn-cs"/>
                </a:rPr>
                <a:t>Justificación fase II (Prestación)</a:t>
              </a:r>
            </a:p>
          </p:txBody>
        </p:sp>
        <p:sp>
          <p:nvSpPr>
            <p:cNvPr id="103" name="CuadroTexto 102">
              <a:extLst>
                <a:ext uri="{FF2B5EF4-FFF2-40B4-BE49-F238E27FC236}">
                  <a16:creationId xmlns:a16="http://schemas.microsoft.com/office/drawing/2014/main" id="{22A56A78-F705-77AB-F080-8F9033110C1D}"/>
                </a:ext>
              </a:extLst>
            </p:cNvPr>
            <p:cNvSpPr txBox="1"/>
            <p:nvPr/>
          </p:nvSpPr>
          <p:spPr>
            <a:xfrm>
              <a:off x="12608392" y="10080753"/>
              <a:ext cx="3500586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defRPr sz="1200" i="1">
                  <a:latin typeface="Arial" panose="020B0604020202020204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5077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0" i="1" u="none" strike="noStrike" kern="1200" cap="none" spc="0" normalizeH="0" baseline="0" noProof="0">
                  <a:ln>
                    <a:noFill/>
                  </a:ln>
                  <a:solidFill>
                    <a:srgbClr val="58617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Telefónica presenta evidencias de uso, en el plazo de 3 meses desde el final de la prestación. </a:t>
              </a:r>
            </a:p>
            <a:p>
              <a:pPr marL="0" marR="0" lvl="0" indent="0" algn="l" defTabSz="15077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0" i="1" u="none" strike="noStrike" kern="1200" cap="none" spc="0" normalizeH="0" baseline="0" noProof="0">
                  <a:ln>
                    <a:noFill/>
                  </a:ln>
                  <a:solidFill>
                    <a:srgbClr val="58617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Cliente tiene que dar la conformidad expresa a cada acuerdo</a:t>
              </a:r>
            </a:p>
          </p:txBody>
        </p:sp>
        <p:grpSp>
          <p:nvGrpSpPr>
            <p:cNvPr id="184" name="Grupo 183">
              <a:extLst>
                <a:ext uri="{FF2B5EF4-FFF2-40B4-BE49-F238E27FC236}">
                  <a16:creationId xmlns:a16="http://schemas.microsoft.com/office/drawing/2014/main" id="{4462C68D-1860-6839-2485-7A9991B90B47}"/>
                </a:ext>
              </a:extLst>
            </p:cNvPr>
            <p:cNvGrpSpPr/>
            <p:nvPr/>
          </p:nvGrpSpPr>
          <p:grpSpPr>
            <a:xfrm>
              <a:off x="12104403" y="9995871"/>
              <a:ext cx="601237" cy="1054548"/>
              <a:chOff x="8828132" y="10219981"/>
              <a:chExt cx="601237" cy="1054548"/>
            </a:xfrm>
          </p:grpSpPr>
          <p:grpSp>
            <p:nvGrpSpPr>
              <p:cNvPr id="142" name="Grupo 141">
                <a:extLst>
                  <a:ext uri="{FF2B5EF4-FFF2-40B4-BE49-F238E27FC236}">
                    <a16:creationId xmlns:a16="http://schemas.microsoft.com/office/drawing/2014/main" id="{3214ED75-B04F-ACD0-AE82-457AFB191715}"/>
                  </a:ext>
                </a:extLst>
              </p:cNvPr>
              <p:cNvGrpSpPr/>
              <p:nvPr/>
            </p:nvGrpSpPr>
            <p:grpSpPr>
              <a:xfrm>
                <a:off x="8828132" y="10219981"/>
                <a:ext cx="582211" cy="633043"/>
                <a:chOff x="468592" y="3907008"/>
                <a:chExt cx="582211" cy="633043"/>
              </a:xfrm>
            </p:grpSpPr>
            <p:grpSp>
              <p:nvGrpSpPr>
                <p:cNvPr id="143" name="Grupo 142">
                  <a:extLst>
                    <a:ext uri="{FF2B5EF4-FFF2-40B4-BE49-F238E27FC236}">
                      <a16:creationId xmlns:a16="http://schemas.microsoft.com/office/drawing/2014/main" id="{8DD4EA61-0BD9-5C0C-C07E-FFC342815B3D}"/>
                    </a:ext>
                  </a:extLst>
                </p:cNvPr>
                <p:cNvGrpSpPr/>
                <p:nvPr/>
              </p:nvGrpSpPr>
              <p:grpSpPr>
                <a:xfrm>
                  <a:off x="517386" y="3907008"/>
                  <a:ext cx="519685" cy="457200"/>
                  <a:chOff x="-1393931" y="5919623"/>
                  <a:chExt cx="2919254" cy="2568255"/>
                </a:xfrm>
              </p:grpSpPr>
              <p:pic>
                <p:nvPicPr>
                  <p:cNvPr id="145" name="Gráfico 144" descr="Firma contorno">
                    <a:extLst>
                      <a:ext uri="{FF2B5EF4-FFF2-40B4-BE49-F238E27FC236}">
                        <a16:creationId xmlns:a16="http://schemas.microsoft.com/office/drawing/2014/main" id="{0E9D5883-2896-529B-047E-7136BBA0A25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6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-1393931" y="5919623"/>
                    <a:ext cx="2767658" cy="2568255"/>
                  </a:xfrm>
                  <a:prstGeom prst="rect">
                    <a:avLst/>
                  </a:prstGeom>
                </p:spPr>
              </p:pic>
              <p:sp>
                <p:nvSpPr>
                  <p:cNvPr id="146" name="Triángulo isósceles 145">
                    <a:extLst>
                      <a:ext uri="{FF2B5EF4-FFF2-40B4-BE49-F238E27FC236}">
                        <a16:creationId xmlns:a16="http://schemas.microsoft.com/office/drawing/2014/main" id="{3BD5849A-5AB3-8B5B-0DD0-F2A259F3B8E4}"/>
                      </a:ext>
                    </a:extLst>
                  </p:cNvPr>
                  <p:cNvSpPr/>
                  <p:nvPr/>
                </p:nvSpPr>
                <p:spPr>
                  <a:xfrm rot="527976">
                    <a:off x="673768" y="6210527"/>
                    <a:ext cx="608783" cy="747062"/>
                  </a:xfrm>
                  <a:prstGeom prst="triangle">
                    <a:avLst>
                      <a:gd name="adj" fmla="val 100000"/>
                    </a:avLst>
                  </a:prstGeom>
                  <a:solidFill>
                    <a:schemeClr val="accent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7" name="Triángulo isósceles 146">
                    <a:extLst>
                      <a:ext uri="{FF2B5EF4-FFF2-40B4-BE49-F238E27FC236}">
                        <a16:creationId xmlns:a16="http://schemas.microsoft.com/office/drawing/2014/main" id="{8CE919EB-6489-0DAE-7AFB-C3BB4239A1B8}"/>
                      </a:ext>
                    </a:extLst>
                  </p:cNvPr>
                  <p:cNvSpPr/>
                  <p:nvPr/>
                </p:nvSpPr>
                <p:spPr>
                  <a:xfrm rot="2871093">
                    <a:off x="818964" y="6657460"/>
                    <a:ext cx="608783" cy="576599"/>
                  </a:xfrm>
                  <a:prstGeom prst="triangle">
                    <a:avLst>
                      <a:gd name="adj" fmla="val 92913"/>
                    </a:avLst>
                  </a:prstGeom>
                  <a:solidFill>
                    <a:schemeClr val="accent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8" name="Rectángulo 147">
                    <a:extLst>
                      <a:ext uri="{FF2B5EF4-FFF2-40B4-BE49-F238E27FC236}">
                        <a16:creationId xmlns:a16="http://schemas.microsoft.com/office/drawing/2014/main" id="{5BEC75FD-7834-51FD-717B-166BF7AA74C3}"/>
                      </a:ext>
                    </a:extLst>
                  </p:cNvPr>
                  <p:cNvSpPr/>
                  <p:nvPr/>
                </p:nvSpPr>
                <p:spPr>
                  <a:xfrm flipH="1">
                    <a:off x="1240700" y="6215554"/>
                    <a:ext cx="175253" cy="838287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9" name="Rectángulo 148">
                    <a:extLst>
                      <a:ext uri="{FF2B5EF4-FFF2-40B4-BE49-F238E27FC236}">
                        <a16:creationId xmlns:a16="http://schemas.microsoft.com/office/drawing/2014/main" id="{5E4F7619-A7EB-928D-EAB2-AB5D9C6A9A92}"/>
                      </a:ext>
                    </a:extLst>
                  </p:cNvPr>
                  <p:cNvSpPr/>
                  <p:nvPr/>
                </p:nvSpPr>
                <p:spPr>
                  <a:xfrm flipH="1">
                    <a:off x="1350070" y="6174828"/>
                    <a:ext cx="175253" cy="1190076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44" name="CuadroTexto 143">
                  <a:extLst>
                    <a:ext uri="{FF2B5EF4-FFF2-40B4-BE49-F238E27FC236}">
                      <a16:creationId xmlns:a16="http://schemas.microsoft.com/office/drawing/2014/main" id="{955CFB74-814C-4CB8-8B86-3A0B0EC872ED}"/>
                    </a:ext>
                  </a:extLst>
                </p:cNvPr>
                <p:cNvSpPr txBox="1"/>
                <p:nvPr/>
              </p:nvSpPr>
              <p:spPr>
                <a:xfrm>
                  <a:off x="468592" y="4293830"/>
                  <a:ext cx="582211" cy="24622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10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E66C64"/>
                      </a:solidFill>
                      <a:effectLst/>
                      <a:uLnTx/>
                      <a:uFillTx/>
                    </a:rPr>
                    <a:t>Cliente</a:t>
                  </a:r>
                </a:p>
              </p:txBody>
            </p:sp>
          </p:grpSp>
          <p:grpSp>
            <p:nvGrpSpPr>
              <p:cNvPr id="150" name="Grupo 149">
                <a:extLst>
                  <a:ext uri="{FF2B5EF4-FFF2-40B4-BE49-F238E27FC236}">
                    <a16:creationId xmlns:a16="http://schemas.microsoft.com/office/drawing/2014/main" id="{23DBB890-EB47-0A50-D1CC-3A37644E402F}"/>
                  </a:ext>
                </a:extLst>
              </p:cNvPr>
              <p:cNvGrpSpPr/>
              <p:nvPr/>
            </p:nvGrpSpPr>
            <p:grpSpPr>
              <a:xfrm>
                <a:off x="8847158" y="10641486"/>
                <a:ext cx="582211" cy="633043"/>
                <a:chOff x="468592" y="3907008"/>
                <a:chExt cx="582211" cy="633043"/>
              </a:xfrm>
            </p:grpSpPr>
            <p:grpSp>
              <p:nvGrpSpPr>
                <p:cNvPr id="151" name="Grupo 150">
                  <a:extLst>
                    <a:ext uri="{FF2B5EF4-FFF2-40B4-BE49-F238E27FC236}">
                      <a16:creationId xmlns:a16="http://schemas.microsoft.com/office/drawing/2014/main" id="{8139702B-F0FB-1A3E-366F-346D4C8AFED4}"/>
                    </a:ext>
                  </a:extLst>
                </p:cNvPr>
                <p:cNvGrpSpPr/>
                <p:nvPr/>
              </p:nvGrpSpPr>
              <p:grpSpPr>
                <a:xfrm>
                  <a:off x="517386" y="3907008"/>
                  <a:ext cx="519685" cy="457200"/>
                  <a:chOff x="-1393931" y="5919623"/>
                  <a:chExt cx="2919254" cy="2568255"/>
                </a:xfrm>
              </p:grpSpPr>
              <p:pic>
                <p:nvPicPr>
                  <p:cNvPr id="153" name="Gráfico 152" descr="Firma contorno">
                    <a:extLst>
                      <a:ext uri="{FF2B5EF4-FFF2-40B4-BE49-F238E27FC236}">
                        <a16:creationId xmlns:a16="http://schemas.microsoft.com/office/drawing/2014/main" id="{5C9F714A-41B0-F82A-80A9-2D8D052FD06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6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-1393931" y="5919623"/>
                    <a:ext cx="2767658" cy="2568255"/>
                  </a:xfrm>
                  <a:prstGeom prst="rect">
                    <a:avLst/>
                  </a:prstGeom>
                </p:spPr>
              </p:pic>
              <p:sp>
                <p:nvSpPr>
                  <p:cNvPr id="154" name="Triángulo isósceles 153">
                    <a:extLst>
                      <a:ext uri="{FF2B5EF4-FFF2-40B4-BE49-F238E27FC236}">
                        <a16:creationId xmlns:a16="http://schemas.microsoft.com/office/drawing/2014/main" id="{771B9CAF-CCA0-1FCB-0E6F-A3A4A9DFC816}"/>
                      </a:ext>
                    </a:extLst>
                  </p:cNvPr>
                  <p:cNvSpPr/>
                  <p:nvPr/>
                </p:nvSpPr>
                <p:spPr>
                  <a:xfrm rot="527976">
                    <a:off x="673768" y="6210527"/>
                    <a:ext cx="608783" cy="747062"/>
                  </a:xfrm>
                  <a:prstGeom prst="triangle">
                    <a:avLst>
                      <a:gd name="adj" fmla="val 100000"/>
                    </a:avLst>
                  </a:prstGeom>
                  <a:solidFill>
                    <a:schemeClr val="accent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5" name="Triángulo isósceles 154">
                    <a:extLst>
                      <a:ext uri="{FF2B5EF4-FFF2-40B4-BE49-F238E27FC236}">
                        <a16:creationId xmlns:a16="http://schemas.microsoft.com/office/drawing/2014/main" id="{977EBF69-694B-373B-5482-00467396A4B4}"/>
                      </a:ext>
                    </a:extLst>
                  </p:cNvPr>
                  <p:cNvSpPr/>
                  <p:nvPr/>
                </p:nvSpPr>
                <p:spPr>
                  <a:xfrm rot="2871093">
                    <a:off x="818964" y="6657460"/>
                    <a:ext cx="608783" cy="576599"/>
                  </a:xfrm>
                  <a:prstGeom prst="triangle">
                    <a:avLst>
                      <a:gd name="adj" fmla="val 92913"/>
                    </a:avLst>
                  </a:prstGeom>
                  <a:solidFill>
                    <a:schemeClr val="accent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6" name="Rectángulo 155">
                    <a:extLst>
                      <a:ext uri="{FF2B5EF4-FFF2-40B4-BE49-F238E27FC236}">
                        <a16:creationId xmlns:a16="http://schemas.microsoft.com/office/drawing/2014/main" id="{A5073E60-B7F3-EFD7-18C0-334BFE6DB0BE}"/>
                      </a:ext>
                    </a:extLst>
                  </p:cNvPr>
                  <p:cNvSpPr/>
                  <p:nvPr/>
                </p:nvSpPr>
                <p:spPr>
                  <a:xfrm flipH="1">
                    <a:off x="1240700" y="6215554"/>
                    <a:ext cx="175253" cy="838287"/>
                  </a:xfrm>
                  <a:prstGeom prst="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57" name="Rectángulo 156">
                    <a:extLst>
                      <a:ext uri="{FF2B5EF4-FFF2-40B4-BE49-F238E27FC236}">
                        <a16:creationId xmlns:a16="http://schemas.microsoft.com/office/drawing/2014/main" id="{5507E82B-A592-013A-FD23-8FC56D73968A}"/>
                      </a:ext>
                    </a:extLst>
                  </p:cNvPr>
                  <p:cNvSpPr/>
                  <p:nvPr/>
                </p:nvSpPr>
                <p:spPr>
                  <a:xfrm flipH="1">
                    <a:off x="1350070" y="6174828"/>
                    <a:ext cx="175253" cy="1190076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52" name="CuadroTexto 151">
                  <a:extLst>
                    <a:ext uri="{FF2B5EF4-FFF2-40B4-BE49-F238E27FC236}">
                      <a16:creationId xmlns:a16="http://schemas.microsoft.com/office/drawing/2014/main" id="{4513BBBA-9FD8-CDED-0BEB-A176BCDB1788}"/>
                    </a:ext>
                  </a:extLst>
                </p:cNvPr>
                <p:cNvSpPr txBox="1"/>
                <p:nvPr/>
              </p:nvSpPr>
              <p:spPr>
                <a:xfrm>
                  <a:off x="468592" y="4293830"/>
                  <a:ext cx="582211" cy="24622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non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s-ES" sz="10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E66C64"/>
                      </a:solidFill>
                      <a:effectLst/>
                      <a:uLnTx/>
                      <a:uFillTx/>
                    </a:rPr>
                    <a:t>Cliente</a:t>
                  </a:r>
                </a:p>
              </p:txBody>
            </p:sp>
          </p:grpSp>
        </p:grpSp>
      </p:grpSp>
      <p:grpSp>
        <p:nvGrpSpPr>
          <p:cNvPr id="174" name="Grupo 173">
            <a:extLst>
              <a:ext uri="{FF2B5EF4-FFF2-40B4-BE49-F238E27FC236}">
                <a16:creationId xmlns:a16="http://schemas.microsoft.com/office/drawing/2014/main" id="{FB09A0D7-6D88-A9F9-2F0E-0BABE6C9DAD8}"/>
              </a:ext>
            </a:extLst>
          </p:cNvPr>
          <p:cNvGrpSpPr/>
          <p:nvPr/>
        </p:nvGrpSpPr>
        <p:grpSpPr>
          <a:xfrm>
            <a:off x="8148989" y="7869354"/>
            <a:ext cx="3139854" cy="2988975"/>
            <a:chOff x="4675387" y="8445219"/>
            <a:chExt cx="3139854" cy="2988975"/>
          </a:xfrm>
        </p:grpSpPr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7DC1B6B7-F588-1089-E41C-0A4F84D79100}"/>
                </a:ext>
              </a:extLst>
            </p:cNvPr>
            <p:cNvSpPr/>
            <p:nvPr/>
          </p:nvSpPr>
          <p:spPr>
            <a:xfrm>
              <a:off x="5574106" y="8445219"/>
              <a:ext cx="1342417" cy="128996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3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fonica Sans" panose="02000003020000060003" pitchFamily="50" charset="0"/>
                  <a:ea typeface="+mn-ea"/>
                  <a:cs typeface="+mn-cs"/>
                </a:rPr>
                <a:t>8</a:t>
              </a:r>
            </a:p>
          </p:txBody>
        </p:sp>
        <p:sp>
          <p:nvSpPr>
            <p:cNvPr id="104" name="Rectángulo: esquinas redondeadas 103">
              <a:extLst>
                <a:ext uri="{FF2B5EF4-FFF2-40B4-BE49-F238E27FC236}">
                  <a16:creationId xmlns:a16="http://schemas.microsoft.com/office/drawing/2014/main" id="{ADA55EEE-360E-A4A8-8268-F31CAD944CB7}"/>
                </a:ext>
              </a:extLst>
            </p:cNvPr>
            <p:cNvSpPr/>
            <p:nvPr/>
          </p:nvSpPr>
          <p:spPr>
            <a:xfrm>
              <a:off x="4893170" y="9804966"/>
              <a:ext cx="2704289" cy="715215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0066FF"/>
                  </a:solidFill>
                  <a:effectLst/>
                  <a:uLnTx/>
                  <a:uFillTx/>
                  <a:latin typeface="Telefonica Sans" panose="02000003020000060003" pitchFamily="50" charset="0"/>
                  <a:ea typeface="+mn-ea"/>
                  <a:cs typeface="+mn-cs"/>
                </a:rPr>
                <a:t>Mantenimiento de los servicios</a:t>
              </a:r>
            </a:p>
          </p:txBody>
        </p:sp>
        <p:grpSp>
          <p:nvGrpSpPr>
            <p:cNvPr id="173" name="Grupo 172">
              <a:extLst>
                <a:ext uri="{FF2B5EF4-FFF2-40B4-BE49-F238E27FC236}">
                  <a16:creationId xmlns:a16="http://schemas.microsoft.com/office/drawing/2014/main" id="{CB53C4B4-302A-6F05-E61E-3D20556D4FFD}"/>
                </a:ext>
              </a:extLst>
            </p:cNvPr>
            <p:cNvGrpSpPr/>
            <p:nvPr/>
          </p:nvGrpSpPr>
          <p:grpSpPr>
            <a:xfrm>
              <a:off x="4675387" y="10603197"/>
              <a:ext cx="3139854" cy="830997"/>
              <a:chOff x="4675387" y="10603197"/>
              <a:chExt cx="3139854" cy="830997"/>
            </a:xfrm>
          </p:grpSpPr>
          <p:sp>
            <p:nvSpPr>
              <p:cNvPr id="107" name="CuadroTexto 106">
                <a:extLst>
                  <a:ext uri="{FF2B5EF4-FFF2-40B4-BE49-F238E27FC236}">
                    <a16:creationId xmlns:a16="http://schemas.microsoft.com/office/drawing/2014/main" id="{95039B39-26C3-123D-ED5F-B17AAF03C76C}"/>
                  </a:ext>
                </a:extLst>
              </p:cNvPr>
              <p:cNvSpPr txBox="1"/>
              <p:nvPr/>
            </p:nvSpPr>
            <p:spPr>
              <a:xfrm>
                <a:off x="5110952" y="10603197"/>
                <a:ext cx="2704289" cy="8309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>
                  <a:defRPr sz="1200" i="1">
                    <a:latin typeface="Arial" panose="020B0604020202020204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5077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200" b="0" i="1" u="none" strike="noStrike" kern="1200" cap="none" spc="0" normalizeH="0" baseline="0" noProof="0">
                    <a:ln>
                      <a:noFill/>
                    </a:ln>
                    <a:solidFill>
                      <a:srgbClr val="586179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panose="020B0604020202020204" pitchFamily="34" charset="0"/>
                  </a:rPr>
                  <a:t>El cliente tiene obligación de usar los servicios durante 12 meses, a computar desde la fecha de emisión de la factura en la fase anterior. </a:t>
                </a:r>
              </a:p>
            </p:txBody>
          </p:sp>
          <p:pic>
            <p:nvPicPr>
              <p:cNvPr id="159" name="Gráfico 158" descr="Apretón de manos con relleno sólido">
                <a:extLst>
                  <a:ext uri="{FF2B5EF4-FFF2-40B4-BE49-F238E27FC236}">
                    <a16:creationId xmlns:a16="http://schemas.microsoft.com/office/drawing/2014/main" id="{411442B0-972C-5B09-C7D6-36B9419127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675387" y="10762408"/>
                <a:ext cx="512575" cy="512575"/>
              </a:xfrm>
              <a:prstGeom prst="rect">
                <a:avLst/>
              </a:prstGeom>
            </p:spPr>
          </p:pic>
        </p:grpSp>
      </p:grpSp>
      <p:grpSp>
        <p:nvGrpSpPr>
          <p:cNvPr id="172" name="Grupo 171">
            <a:extLst>
              <a:ext uri="{FF2B5EF4-FFF2-40B4-BE49-F238E27FC236}">
                <a16:creationId xmlns:a16="http://schemas.microsoft.com/office/drawing/2014/main" id="{52606F73-0E1F-E3A1-ADA5-4E8235867140}"/>
              </a:ext>
            </a:extLst>
          </p:cNvPr>
          <p:cNvGrpSpPr/>
          <p:nvPr/>
        </p:nvGrpSpPr>
        <p:grpSpPr>
          <a:xfrm>
            <a:off x="10479436" y="4861383"/>
            <a:ext cx="2704289" cy="2852917"/>
            <a:chOff x="15336704" y="2183700"/>
            <a:chExt cx="2704289" cy="2852917"/>
          </a:xfrm>
        </p:grpSpPr>
        <p:grpSp>
          <p:nvGrpSpPr>
            <p:cNvPr id="161" name="Grupo 160">
              <a:extLst>
                <a:ext uri="{FF2B5EF4-FFF2-40B4-BE49-F238E27FC236}">
                  <a16:creationId xmlns:a16="http://schemas.microsoft.com/office/drawing/2014/main" id="{64DCDEE7-6DF3-6FA5-0848-0AF0A2475690}"/>
                </a:ext>
              </a:extLst>
            </p:cNvPr>
            <p:cNvGrpSpPr/>
            <p:nvPr/>
          </p:nvGrpSpPr>
          <p:grpSpPr>
            <a:xfrm>
              <a:off x="15336704" y="2183700"/>
              <a:ext cx="2704289" cy="2794164"/>
              <a:chOff x="14645673" y="2235623"/>
              <a:chExt cx="2704289" cy="2794164"/>
            </a:xfrm>
          </p:grpSpPr>
          <p:sp>
            <p:nvSpPr>
              <p:cNvPr id="8" name="Elipse 7">
                <a:extLst>
                  <a:ext uri="{FF2B5EF4-FFF2-40B4-BE49-F238E27FC236}">
                    <a16:creationId xmlns:a16="http://schemas.microsoft.com/office/drawing/2014/main" id="{12F22D04-C7DD-A4AB-971B-08BC75C93A6C}"/>
                  </a:ext>
                </a:extLst>
              </p:cNvPr>
              <p:cNvSpPr/>
              <p:nvPr/>
            </p:nvSpPr>
            <p:spPr>
              <a:xfrm>
                <a:off x="15326609" y="2235623"/>
                <a:ext cx="1342417" cy="1289964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36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elefonica Sans" panose="02000003020000060003" pitchFamily="50" charset="0"/>
                    <a:ea typeface="+mn-ea"/>
                    <a:cs typeface="+mn-cs"/>
                  </a:rPr>
                  <a:t>5</a:t>
                </a:r>
              </a:p>
            </p:txBody>
          </p:sp>
          <p:sp>
            <p:nvSpPr>
              <p:cNvPr id="24" name="Rectángulo: esquinas redondeadas 23">
                <a:extLst>
                  <a:ext uri="{FF2B5EF4-FFF2-40B4-BE49-F238E27FC236}">
                    <a16:creationId xmlns:a16="http://schemas.microsoft.com/office/drawing/2014/main" id="{88EF63B5-DFFF-6D98-F7AD-E97A14DD0D20}"/>
                  </a:ext>
                </a:extLst>
              </p:cNvPr>
              <p:cNvSpPr/>
              <p:nvPr/>
            </p:nvSpPr>
            <p:spPr>
              <a:xfrm>
                <a:off x="14645673" y="3549883"/>
                <a:ext cx="2704289" cy="1063592"/>
              </a:xfrm>
              <a:prstGeom prst="roundRect">
                <a:avLst/>
              </a:prstGeom>
              <a:solidFill>
                <a:schemeClr val="bg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0066FF"/>
                    </a:solidFill>
                    <a:effectLst/>
                    <a:uLnTx/>
                    <a:uFillTx/>
                    <a:latin typeface="Telefonica Sans" panose="02000003020000060003" pitchFamily="50" charset="0"/>
                    <a:ea typeface="+mn-ea"/>
                    <a:cs typeface="+mn-cs"/>
                  </a:rPr>
                  <a:t>Validación del acuerdo por Red.es</a:t>
                </a:r>
              </a:p>
            </p:txBody>
          </p:sp>
          <p:sp>
            <p:nvSpPr>
              <p:cNvPr id="48" name="CuadroTexto 47">
                <a:extLst>
                  <a:ext uri="{FF2B5EF4-FFF2-40B4-BE49-F238E27FC236}">
                    <a16:creationId xmlns:a16="http://schemas.microsoft.com/office/drawing/2014/main" id="{81F58AC9-D3E8-1321-4803-27FCEE727257}"/>
                  </a:ext>
                </a:extLst>
              </p:cNvPr>
              <p:cNvSpPr txBox="1"/>
              <p:nvPr/>
            </p:nvSpPr>
            <p:spPr>
              <a:xfrm>
                <a:off x="15304339" y="4752788"/>
                <a:ext cx="1663243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>
                  <a:defRPr sz="1200" i="1">
                    <a:latin typeface="Arial" panose="020B0604020202020204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5077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200" b="0" i="1" u="none" strike="noStrike" kern="1200" cap="none" spc="0" normalizeH="0" baseline="0" noProof="0">
                    <a:ln>
                      <a:noFill/>
                    </a:ln>
                    <a:solidFill>
                      <a:srgbClr val="586179"/>
                    </a:solidFill>
                    <a:effectLst/>
                    <a:uLnTx/>
                    <a:uFillTx/>
                    <a:latin typeface="Telefonica Sans" panose="02000003020000060003" pitchFamily="50" charset="0"/>
                    <a:ea typeface="+mn-ea"/>
                    <a:cs typeface="Arial" panose="020B0604020202020204" pitchFamily="34" charset="0"/>
                  </a:rPr>
                  <a:t>Notificación de red.es</a:t>
                </a:r>
              </a:p>
            </p:txBody>
          </p:sp>
        </p:grpSp>
        <p:pic>
          <p:nvPicPr>
            <p:cNvPr id="171" name="Gráfico 170" descr="Correo electrónico con relleno sólido">
              <a:extLst>
                <a:ext uri="{FF2B5EF4-FFF2-40B4-BE49-F238E27FC236}">
                  <a16:creationId xmlns:a16="http://schemas.microsoft.com/office/drawing/2014/main" id="{5B250B21-A1B4-1E6E-31A1-A014E941B52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flipH="1">
              <a:off x="15665051" y="4669391"/>
              <a:ext cx="367226" cy="367226"/>
            </a:xfrm>
            <a:prstGeom prst="rect">
              <a:avLst/>
            </a:prstGeom>
          </p:spPr>
        </p:pic>
      </p:grpSp>
      <p:grpSp>
        <p:nvGrpSpPr>
          <p:cNvPr id="183" name="Grupo 182">
            <a:extLst>
              <a:ext uri="{FF2B5EF4-FFF2-40B4-BE49-F238E27FC236}">
                <a16:creationId xmlns:a16="http://schemas.microsoft.com/office/drawing/2014/main" id="{C1439B19-5BC5-B9CE-C925-D6E4B69C92FC}"/>
              </a:ext>
            </a:extLst>
          </p:cNvPr>
          <p:cNvGrpSpPr/>
          <p:nvPr/>
        </p:nvGrpSpPr>
        <p:grpSpPr>
          <a:xfrm>
            <a:off x="4877877" y="4861398"/>
            <a:ext cx="2711707" cy="2998312"/>
            <a:chOff x="13189569" y="5187705"/>
            <a:chExt cx="2711707" cy="2998312"/>
          </a:xfrm>
        </p:grpSpPr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C77334D2-0AFE-7032-1858-B54BBF9658C1}"/>
                </a:ext>
              </a:extLst>
            </p:cNvPr>
            <p:cNvSpPr/>
            <p:nvPr/>
          </p:nvSpPr>
          <p:spPr>
            <a:xfrm>
              <a:off x="13874214" y="5187705"/>
              <a:ext cx="1342417" cy="128996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3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fonica Sans" panose="02000003020000060003" pitchFamily="50" charset="0"/>
                  <a:ea typeface="+mn-ea"/>
                  <a:cs typeface="+mn-cs"/>
                </a:rPr>
                <a:t>6</a:t>
              </a:r>
            </a:p>
          </p:txBody>
        </p:sp>
        <p:sp>
          <p:nvSpPr>
            <p:cNvPr id="76" name="Rectángulo: esquinas redondeadas 75">
              <a:extLst>
                <a:ext uri="{FF2B5EF4-FFF2-40B4-BE49-F238E27FC236}">
                  <a16:creationId xmlns:a16="http://schemas.microsoft.com/office/drawing/2014/main" id="{6B6D5467-A470-42CE-9007-65771A64F6E1}"/>
                </a:ext>
              </a:extLst>
            </p:cNvPr>
            <p:cNvSpPr/>
            <p:nvPr/>
          </p:nvSpPr>
          <p:spPr>
            <a:xfrm>
              <a:off x="13193278" y="6506006"/>
              <a:ext cx="2704289" cy="1063592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srgbClr val="0066FF"/>
                  </a:solidFill>
                  <a:effectLst/>
                  <a:uLnTx/>
                  <a:uFillTx/>
                  <a:latin typeface="Telefonica Sans" panose="02000003020000060003" pitchFamily="50" charset="0"/>
                  <a:ea typeface="+mn-ea"/>
                  <a:cs typeface="+mn-cs"/>
                </a:rPr>
                <a:t>Implantación solución y pago impuestos </a:t>
              </a:r>
            </a:p>
          </p:txBody>
        </p:sp>
        <p:grpSp>
          <p:nvGrpSpPr>
            <p:cNvPr id="182" name="Grupo 181">
              <a:extLst>
                <a:ext uri="{FF2B5EF4-FFF2-40B4-BE49-F238E27FC236}">
                  <a16:creationId xmlns:a16="http://schemas.microsoft.com/office/drawing/2014/main" id="{6FE78120-64A9-1CF3-589E-8496CA2CF589}"/>
                </a:ext>
              </a:extLst>
            </p:cNvPr>
            <p:cNvGrpSpPr/>
            <p:nvPr/>
          </p:nvGrpSpPr>
          <p:grpSpPr>
            <a:xfrm>
              <a:off x="13189569" y="7615536"/>
              <a:ext cx="2711707" cy="570481"/>
              <a:chOff x="13189569" y="7615536"/>
              <a:chExt cx="2711707" cy="570481"/>
            </a:xfrm>
          </p:grpSpPr>
          <p:sp>
            <p:nvSpPr>
              <p:cNvPr id="78" name="CuadroTexto 77">
                <a:extLst>
                  <a:ext uri="{FF2B5EF4-FFF2-40B4-BE49-F238E27FC236}">
                    <a16:creationId xmlns:a16="http://schemas.microsoft.com/office/drawing/2014/main" id="{479A58C2-922F-ACF3-FB1C-F7007BB1527F}"/>
                  </a:ext>
                </a:extLst>
              </p:cNvPr>
              <p:cNvSpPr txBox="1"/>
              <p:nvPr/>
            </p:nvSpPr>
            <p:spPr>
              <a:xfrm>
                <a:off x="13766747" y="7669944"/>
                <a:ext cx="2134529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>
                  <a:defRPr sz="1200" i="1">
                    <a:latin typeface="Arial" panose="020B0604020202020204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5077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200" b="0" i="1" u="none" strike="noStrike" kern="1200" cap="none" spc="0" normalizeH="0" baseline="0" noProof="0">
                    <a:ln>
                      <a:noFill/>
                    </a:ln>
                    <a:solidFill>
                      <a:srgbClr val="586179"/>
                    </a:solidFill>
                    <a:effectLst/>
                    <a:uLnTx/>
                    <a:uFillTx/>
                    <a:latin typeface="Telefonica Sans" panose="02000003020000060003" pitchFamily="50" charset="0"/>
                    <a:ea typeface="+mn-ea"/>
                    <a:cs typeface="Arial" panose="020B0604020202020204" pitchFamily="34" charset="0"/>
                  </a:rPr>
                  <a:t>Máximo 6 meses desde la validación de cada acuerdo</a:t>
                </a:r>
              </a:p>
            </p:txBody>
          </p:sp>
          <p:pic>
            <p:nvPicPr>
              <p:cNvPr id="181" name="Gráfico 180" descr="Transfer1 contorno">
                <a:extLst>
                  <a:ext uri="{FF2B5EF4-FFF2-40B4-BE49-F238E27FC236}">
                    <a16:creationId xmlns:a16="http://schemas.microsoft.com/office/drawing/2014/main" id="{74EBBEDD-7754-B4A6-BC7E-2506315231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13189569" y="7615536"/>
                <a:ext cx="570481" cy="570481"/>
              </a:xfrm>
              <a:prstGeom prst="rect">
                <a:avLst/>
              </a:prstGeom>
            </p:spPr>
          </p:pic>
        </p:grpSp>
      </p:grpSp>
      <p:cxnSp>
        <p:nvCxnSpPr>
          <p:cNvPr id="25" name="Conector recto de flecha 24">
            <a:extLst>
              <a:ext uri="{FF2B5EF4-FFF2-40B4-BE49-F238E27FC236}">
                <a16:creationId xmlns:a16="http://schemas.microsoft.com/office/drawing/2014/main" id="{D93C3E28-EC33-F980-CDB4-CC53F20F9AD5}"/>
              </a:ext>
            </a:extLst>
          </p:cNvPr>
          <p:cNvCxnSpPr>
            <a:cxnSpLocks/>
          </p:cNvCxnSpPr>
          <p:nvPr/>
        </p:nvCxnSpPr>
        <p:spPr>
          <a:xfrm flipH="1">
            <a:off x="4514747" y="5543499"/>
            <a:ext cx="488173" cy="0"/>
          </a:xfrm>
          <a:prstGeom prst="straightConnector1">
            <a:avLst/>
          </a:prstGeom>
          <a:ln w="571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cto de flecha 26">
            <a:extLst>
              <a:ext uri="{FF2B5EF4-FFF2-40B4-BE49-F238E27FC236}">
                <a16:creationId xmlns:a16="http://schemas.microsoft.com/office/drawing/2014/main" id="{1927D4AD-3389-876B-9899-2AE0D7374EDF}"/>
              </a:ext>
            </a:extLst>
          </p:cNvPr>
          <p:cNvCxnSpPr>
            <a:cxnSpLocks/>
          </p:cNvCxnSpPr>
          <p:nvPr/>
        </p:nvCxnSpPr>
        <p:spPr>
          <a:xfrm flipH="1">
            <a:off x="14227658" y="5543499"/>
            <a:ext cx="488173" cy="0"/>
          </a:xfrm>
          <a:prstGeom prst="straightConnector1">
            <a:avLst/>
          </a:prstGeom>
          <a:ln w="571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de flecha 27">
            <a:extLst>
              <a:ext uri="{FF2B5EF4-FFF2-40B4-BE49-F238E27FC236}">
                <a16:creationId xmlns:a16="http://schemas.microsoft.com/office/drawing/2014/main" id="{5EC1B880-3926-5AEB-6708-449A68317651}"/>
              </a:ext>
            </a:extLst>
          </p:cNvPr>
          <p:cNvCxnSpPr>
            <a:cxnSpLocks/>
          </p:cNvCxnSpPr>
          <p:nvPr/>
        </p:nvCxnSpPr>
        <p:spPr>
          <a:xfrm>
            <a:off x="11370892" y="2516857"/>
            <a:ext cx="533066" cy="0"/>
          </a:xfrm>
          <a:prstGeom prst="straightConnector1">
            <a:avLst/>
          </a:prstGeom>
          <a:ln w="571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de flecha 29">
            <a:extLst>
              <a:ext uri="{FF2B5EF4-FFF2-40B4-BE49-F238E27FC236}">
                <a16:creationId xmlns:a16="http://schemas.microsoft.com/office/drawing/2014/main" id="{2806B187-E198-EB26-FBF7-0768B0A90EA0}"/>
              </a:ext>
            </a:extLst>
          </p:cNvPr>
          <p:cNvCxnSpPr>
            <a:cxnSpLocks/>
          </p:cNvCxnSpPr>
          <p:nvPr/>
        </p:nvCxnSpPr>
        <p:spPr>
          <a:xfrm>
            <a:off x="3295588" y="8587016"/>
            <a:ext cx="533066" cy="0"/>
          </a:xfrm>
          <a:prstGeom prst="straightConnector1">
            <a:avLst/>
          </a:prstGeom>
          <a:ln w="571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de flecha 30">
            <a:extLst>
              <a:ext uri="{FF2B5EF4-FFF2-40B4-BE49-F238E27FC236}">
                <a16:creationId xmlns:a16="http://schemas.microsoft.com/office/drawing/2014/main" id="{98C80AD2-6B25-770C-AD49-1DD14EA084CE}"/>
              </a:ext>
            </a:extLst>
          </p:cNvPr>
          <p:cNvCxnSpPr>
            <a:cxnSpLocks/>
          </p:cNvCxnSpPr>
          <p:nvPr/>
        </p:nvCxnSpPr>
        <p:spPr>
          <a:xfrm>
            <a:off x="11370892" y="8587016"/>
            <a:ext cx="533066" cy="0"/>
          </a:xfrm>
          <a:prstGeom prst="straightConnector1">
            <a:avLst/>
          </a:prstGeom>
          <a:ln w="571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cto de flecha 31">
            <a:extLst>
              <a:ext uri="{FF2B5EF4-FFF2-40B4-BE49-F238E27FC236}">
                <a16:creationId xmlns:a16="http://schemas.microsoft.com/office/drawing/2014/main" id="{465BA3D6-701F-A753-D1B4-67AC5044C2EF}"/>
              </a:ext>
            </a:extLst>
          </p:cNvPr>
          <p:cNvCxnSpPr>
            <a:cxnSpLocks/>
          </p:cNvCxnSpPr>
          <p:nvPr/>
        </p:nvCxnSpPr>
        <p:spPr>
          <a:xfrm>
            <a:off x="16974471" y="2516857"/>
            <a:ext cx="533066" cy="0"/>
          </a:xfrm>
          <a:prstGeom prst="straightConnector1">
            <a:avLst/>
          </a:prstGeom>
          <a:ln w="571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uadroTexto 20">
            <a:extLst>
              <a:ext uri="{FF2B5EF4-FFF2-40B4-BE49-F238E27FC236}">
                <a16:creationId xmlns:a16="http://schemas.microsoft.com/office/drawing/2014/main" id="{B7E507D8-13DE-5FB0-AF0F-D4CC5B319CB2}"/>
              </a:ext>
            </a:extLst>
          </p:cNvPr>
          <p:cNvSpPr txBox="1"/>
          <p:nvPr/>
        </p:nvSpPr>
        <p:spPr>
          <a:xfrm>
            <a:off x="2782347" y="1033211"/>
            <a:ext cx="1496990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kern="0"/>
            </a:defPPr>
            <a:lvl1pPr marL="471202" indent="-471202" algn="l" defTabSz="1507776" rtl="0">
              <a:buFont typeface="Arial" panose="020B0604020202020204" pitchFamily="34" charset="0"/>
              <a:buChar char="•"/>
              <a:defRPr sz="2800" kern="1200">
                <a:solidFill>
                  <a:srgbClr val="586179"/>
                </a:solidFill>
                <a:latin typeface="Telefonica Sans" panose="02000003020000060003" pitchFamily="50" charset="0"/>
                <a:ea typeface="+mn-ea"/>
                <a:cs typeface="+mn-cs"/>
              </a:defRPr>
            </a:lvl1pPr>
          </a:lstStyle>
          <a:p>
            <a:pPr marL="0" marR="0" lvl="0" indent="0" algn="l" defTabSz="2486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  <a:latin typeface="Telefonica Sans"/>
                <a:ea typeface="+mn-ea"/>
                <a:cs typeface="+mn-cs"/>
              </a:rPr>
              <a:t>Los clientes que formalicen Acuerdos de Puesto de trabajo seguro deberán tener validado previamente uno o más Acuerdos de cualquier otra Categoría de Solución de Digitalización</a:t>
            </a:r>
          </a:p>
        </p:txBody>
      </p:sp>
    </p:spTree>
    <p:extLst>
      <p:ext uri="{BB962C8B-B14F-4D97-AF65-F5344CB8AC3E}">
        <p14:creationId xmlns:p14="http://schemas.microsoft.com/office/powerpoint/2010/main" val="34051258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088CBEE-6148-4B18-82AC-4C04C17835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6810" y="37169"/>
            <a:ext cx="16761437" cy="1341819"/>
          </a:xfrm>
        </p:spPr>
        <p:txBody>
          <a:bodyPr/>
          <a:lstStyle/>
          <a:p>
            <a:r>
              <a:rPr lang="es-ES" b="1"/>
              <a:t>TE LO PONEMOS FÁCIL: la gestión del Bono con Telefónica y el acompañamiento de tu Asociación en todo momento </a:t>
            </a:r>
            <a:endParaRPr lang="es-ES"/>
          </a:p>
        </p:txBody>
      </p:sp>
      <p:sp>
        <p:nvSpPr>
          <p:cNvPr id="3" name="Rectángulo: esquinas redondeadas 2">
            <a:extLst>
              <a:ext uri="{FF2B5EF4-FFF2-40B4-BE49-F238E27FC236}">
                <a16:creationId xmlns:a16="http://schemas.microsoft.com/office/drawing/2014/main" id="{8A2F90B2-C468-B892-8824-3ABFA59524BB}"/>
              </a:ext>
            </a:extLst>
          </p:cNvPr>
          <p:cNvSpPr/>
          <p:nvPr/>
        </p:nvSpPr>
        <p:spPr>
          <a:xfrm>
            <a:off x="283954" y="2586786"/>
            <a:ext cx="3088256" cy="1341819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>
                <a:latin typeface="Telefonica Sans" panose="02000003020000060003" pitchFamily="50" charset="0"/>
              </a:rPr>
              <a:t>CONTRATO Y DELEGACIÓN</a:t>
            </a:r>
          </a:p>
        </p:txBody>
      </p:sp>
      <p:sp>
        <p:nvSpPr>
          <p:cNvPr id="16" name="Rectángulo: esquinas redondeadas 15">
            <a:extLst>
              <a:ext uri="{FF2B5EF4-FFF2-40B4-BE49-F238E27FC236}">
                <a16:creationId xmlns:a16="http://schemas.microsoft.com/office/drawing/2014/main" id="{DF86176C-5D38-3572-3580-95DE6D496D81}"/>
              </a:ext>
            </a:extLst>
          </p:cNvPr>
          <p:cNvSpPr/>
          <p:nvPr/>
        </p:nvSpPr>
        <p:spPr>
          <a:xfrm>
            <a:off x="283954" y="4535454"/>
            <a:ext cx="3088256" cy="1341819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>
                <a:latin typeface="Telefonica Sans" panose="02000003020000060003" pitchFamily="50" charset="0"/>
              </a:rPr>
              <a:t>SOLICITUD Y GESTIÓN DEL BONO</a:t>
            </a:r>
          </a:p>
        </p:txBody>
      </p:sp>
      <p:sp>
        <p:nvSpPr>
          <p:cNvPr id="18" name="Rectángulo: esquinas redondeadas 17">
            <a:extLst>
              <a:ext uri="{FF2B5EF4-FFF2-40B4-BE49-F238E27FC236}">
                <a16:creationId xmlns:a16="http://schemas.microsoft.com/office/drawing/2014/main" id="{04D08C48-D3FE-E117-ABE6-D0B7D752C1C8}"/>
              </a:ext>
            </a:extLst>
          </p:cNvPr>
          <p:cNvSpPr/>
          <p:nvPr/>
        </p:nvSpPr>
        <p:spPr>
          <a:xfrm>
            <a:off x="283954" y="6691057"/>
            <a:ext cx="3088256" cy="1341819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>
                <a:latin typeface="Telefonica Sans" panose="02000003020000060003" pitchFamily="50" charset="0"/>
              </a:rPr>
              <a:t>FIRMA DE ACUERDOS Y PRESTACIÓN DE SERVICIOS</a:t>
            </a:r>
          </a:p>
        </p:txBody>
      </p:sp>
      <p:sp>
        <p:nvSpPr>
          <p:cNvPr id="21" name="Rectángulo: esquinas redondeadas 20">
            <a:extLst>
              <a:ext uri="{FF2B5EF4-FFF2-40B4-BE49-F238E27FC236}">
                <a16:creationId xmlns:a16="http://schemas.microsoft.com/office/drawing/2014/main" id="{8C1CB9E6-AD4D-079B-6DEB-5E088961D663}"/>
              </a:ext>
            </a:extLst>
          </p:cNvPr>
          <p:cNvSpPr/>
          <p:nvPr/>
        </p:nvSpPr>
        <p:spPr>
          <a:xfrm>
            <a:off x="283954" y="8846660"/>
            <a:ext cx="3088256" cy="1341819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>
                <a:latin typeface="Telefonica Sans" panose="02000003020000060003" pitchFamily="50" charset="0"/>
              </a:rPr>
              <a:t>JUSTIFICACIÓN I Y II</a:t>
            </a:r>
          </a:p>
        </p:txBody>
      </p:sp>
      <p:grpSp>
        <p:nvGrpSpPr>
          <p:cNvPr id="29" name="Grupo 28">
            <a:extLst>
              <a:ext uri="{FF2B5EF4-FFF2-40B4-BE49-F238E27FC236}">
                <a16:creationId xmlns:a16="http://schemas.microsoft.com/office/drawing/2014/main" id="{D1D05348-32D9-9D7D-CFDC-C6A95C17620A}"/>
              </a:ext>
            </a:extLst>
          </p:cNvPr>
          <p:cNvGrpSpPr/>
          <p:nvPr/>
        </p:nvGrpSpPr>
        <p:grpSpPr>
          <a:xfrm>
            <a:off x="10828333" y="1384895"/>
            <a:ext cx="2641719" cy="555881"/>
            <a:chOff x="-155129" y="1485801"/>
            <a:chExt cx="1959226" cy="455582"/>
          </a:xfrm>
        </p:grpSpPr>
        <p:sp>
          <p:nvSpPr>
            <p:cNvPr id="30" name="CuadroTexto 29">
              <a:extLst>
                <a:ext uri="{FF2B5EF4-FFF2-40B4-BE49-F238E27FC236}">
                  <a16:creationId xmlns:a16="http://schemas.microsoft.com/office/drawing/2014/main" id="{86FF900E-B092-2B6A-F62B-9A1602A6E97F}"/>
                </a:ext>
              </a:extLst>
            </p:cNvPr>
            <p:cNvSpPr txBox="1"/>
            <p:nvPr/>
          </p:nvSpPr>
          <p:spPr>
            <a:xfrm>
              <a:off x="347767" y="1578673"/>
              <a:ext cx="1456330" cy="3019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400" b="1" i="0" u="none" strike="noStrike" kern="1200" cap="none" spc="0" normalizeH="0" baseline="0" noProof="0">
                  <a:ln>
                    <a:noFill/>
                  </a:ln>
                  <a:solidFill>
                    <a:srgbClr val="0066FF"/>
                  </a:solidFill>
                  <a:effectLst/>
                  <a:uLnTx/>
                  <a:uFillTx/>
                  <a:latin typeface="Telefonica Sans" panose="02000003020000060003" pitchFamily="50" charset="0"/>
                  <a:ea typeface="+mn-ea"/>
                  <a:cs typeface="+mn-cs"/>
                </a:rPr>
                <a:t>ASOCIADO</a:t>
              </a:r>
            </a:p>
          </p:txBody>
        </p:sp>
        <p:pic>
          <p:nvPicPr>
            <p:cNvPr id="31" name="Gráfico 30" descr="Usuario con relleno sólido">
              <a:extLst>
                <a:ext uri="{FF2B5EF4-FFF2-40B4-BE49-F238E27FC236}">
                  <a16:creationId xmlns:a16="http://schemas.microsoft.com/office/drawing/2014/main" id="{5DC128D5-B62F-CBB8-A202-6CC2B92436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-155129" y="1485801"/>
              <a:ext cx="455582" cy="455582"/>
            </a:xfrm>
            <a:prstGeom prst="rect">
              <a:avLst/>
            </a:prstGeom>
          </p:spPr>
        </p:pic>
      </p:grpSp>
      <p:grpSp>
        <p:nvGrpSpPr>
          <p:cNvPr id="32" name="Grupo 31">
            <a:extLst>
              <a:ext uri="{FF2B5EF4-FFF2-40B4-BE49-F238E27FC236}">
                <a16:creationId xmlns:a16="http://schemas.microsoft.com/office/drawing/2014/main" id="{54DE0A80-C273-A684-76ED-BF1AFBCBE50F}"/>
              </a:ext>
            </a:extLst>
          </p:cNvPr>
          <p:cNvGrpSpPr/>
          <p:nvPr/>
        </p:nvGrpSpPr>
        <p:grpSpPr>
          <a:xfrm>
            <a:off x="15209739" y="1138838"/>
            <a:ext cx="3401379" cy="966462"/>
            <a:chOff x="-12818" y="3336271"/>
            <a:chExt cx="2282189" cy="654651"/>
          </a:xfrm>
        </p:grpSpPr>
        <p:sp>
          <p:nvSpPr>
            <p:cNvPr id="33" name="CuadroTexto 32">
              <a:extLst>
                <a:ext uri="{FF2B5EF4-FFF2-40B4-BE49-F238E27FC236}">
                  <a16:creationId xmlns:a16="http://schemas.microsoft.com/office/drawing/2014/main" id="{69F4D657-7D5D-F3D4-A19E-E509F40B07A9}"/>
                </a:ext>
              </a:extLst>
            </p:cNvPr>
            <p:cNvSpPr txBox="1"/>
            <p:nvPr/>
          </p:nvSpPr>
          <p:spPr>
            <a:xfrm>
              <a:off x="438965" y="3528705"/>
              <a:ext cx="1830406" cy="3157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66FF"/>
                  </a:solidFill>
                  <a:effectLst/>
                  <a:uLnTx/>
                  <a:uFillTx/>
                  <a:latin typeface="Telefonica Sans" panose="02000003020000060003" pitchFamily="50" charset="0"/>
                  <a:ea typeface="+mn-ea"/>
                  <a:cs typeface="+mn-cs"/>
                </a:rPr>
                <a:t>ASOCIACIÓN</a:t>
              </a:r>
            </a:p>
          </p:txBody>
        </p:sp>
        <p:pic>
          <p:nvPicPr>
            <p:cNvPr id="34" name="Gráfico 33" descr="Reunión con relleno sólido">
              <a:extLst>
                <a:ext uri="{FF2B5EF4-FFF2-40B4-BE49-F238E27FC236}">
                  <a16:creationId xmlns:a16="http://schemas.microsoft.com/office/drawing/2014/main" id="{6BEB500A-3BBB-E293-110E-B0CA697DACB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-12818" y="3336271"/>
              <a:ext cx="654651" cy="654651"/>
            </a:xfrm>
            <a:prstGeom prst="rect">
              <a:avLst/>
            </a:prstGeom>
          </p:spPr>
        </p:pic>
      </p:grpSp>
      <p:pic>
        <p:nvPicPr>
          <p:cNvPr id="36" name="Imagen 35">
            <a:extLst>
              <a:ext uri="{FF2B5EF4-FFF2-40B4-BE49-F238E27FC236}">
                <a16:creationId xmlns:a16="http://schemas.microsoft.com/office/drawing/2014/main" id="{0E64E755-5FFE-B654-D717-AB611657B0F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16194" y="1153528"/>
            <a:ext cx="2405975" cy="830634"/>
          </a:xfrm>
          <a:prstGeom prst="rect">
            <a:avLst/>
          </a:prstGeom>
        </p:spPr>
      </p:pic>
      <p:cxnSp>
        <p:nvCxnSpPr>
          <p:cNvPr id="38" name="Conector recto 37">
            <a:extLst>
              <a:ext uri="{FF2B5EF4-FFF2-40B4-BE49-F238E27FC236}">
                <a16:creationId xmlns:a16="http://schemas.microsoft.com/office/drawing/2014/main" id="{D2A5131A-0BD4-3E74-19A4-09FDFD8BE503}"/>
              </a:ext>
            </a:extLst>
          </p:cNvPr>
          <p:cNvCxnSpPr>
            <a:cxnSpLocks/>
          </p:cNvCxnSpPr>
          <p:nvPr/>
        </p:nvCxnSpPr>
        <p:spPr>
          <a:xfrm>
            <a:off x="4267200" y="4385726"/>
            <a:ext cx="15105134" cy="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cto 40">
            <a:extLst>
              <a:ext uri="{FF2B5EF4-FFF2-40B4-BE49-F238E27FC236}">
                <a16:creationId xmlns:a16="http://schemas.microsoft.com/office/drawing/2014/main" id="{EC8206B3-76D5-C821-6565-19501EC83DAF}"/>
              </a:ext>
            </a:extLst>
          </p:cNvPr>
          <p:cNvCxnSpPr>
            <a:cxnSpLocks/>
          </p:cNvCxnSpPr>
          <p:nvPr/>
        </p:nvCxnSpPr>
        <p:spPr>
          <a:xfrm>
            <a:off x="4267200" y="6245300"/>
            <a:ext cx="15105134" cy="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9FBB1A6E-6EE6-72F0-B19C-44CEBEE015B0}"/>
              </a:ext>
            </a:extLst>
          </p:cNvPr>
          <p:cNvCxnSpPr>
            <a:cxnSpLocks/>
          </p:cNvCxnSpPr>
          <p:nvPr/>
        </p:nvCxnSpPr>
        <p:spPr>
          <a:xfrm>
            <a:off x="4267200" y="8245550"/>
            <a:ext cx="15105134" cy="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CuadroTexto 42">
            <a:extLst>
              <a:ext uri="{FF2B5EF4-FFF2-40B4-BE49-F238E27FC236}">
                <a16:creationId xmlns:a16="http://schemas.microsoft.com/office/drawing/2014/main" id="{95EEA815-39D2-3F86-FC97-D60D263E34D9}"/>
              </a:ext>
            </a:extLst>
          </p:cNvPr>
          <p:cNvSpPr txBox="1"/>
          <p:nvPr/>
        </p:nvSpPr>
        <p:spPr>
          <a:xfrm>
            <a:off x="4378324" y="2618645"/>
            <a:ext cx="55627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dirty="0">
                <a:solidFill>
                  <a:schemeClr val="tx1"/>
                </a:solidFill>
                <a:latin typeface="Telefonica Sans" panose="02000003020000060003" pitchFamily="50" charset="0"/>
              </a:rPr>
              <a:t>Enviamos el contrato al Asociado para que firme a través de nuestra plataforma </a:t>
            </a:r>
            <a:r>
              <a:rPr lang="es-ES" dirty="0" err="1">
                <a:solidFill>
                  <a:schemeClr val="tx1"/>
                </a:solidFill>
                <a:latin typeface="Telefonica Sans" panose="02000003020000060003" pitchFamily="50" charset="0"/>
              </a:rPr>
              <a:t>Evicertia</a:t>
            </a:r>
            <a:r>
              <a:rPr lang="es-ES" dirty="0">
                <a:solidFill>
                  <a:schemeClr val="tx1"/>
                </a:solidFill>
                <a:latin typeface="Telefonica Sans" panose="02000003020000060003" pitchFamily="50" charset="0"/>
              </a:rPr>
              <a:t>.</a:t>
            </a: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025C5CA6-8057-856A-4857-974DFB743F9F}"/>
              </a:ext>
            </a:extLst>
          </p:cNvPr>
          <p:cNvSpPr txBox="1"/>
          <p:nvPr/>
        </p:nvSpPr>
        <p:spPr>
          <a:xfrm>
            <a:off x="4378324" y="3357911"/>
            <a:ext cx="55627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>
                <a:solidFill>
                  <a:schemeClr val="tx1"/>
                </a:solidFill>
                <a:latin typeface="Telefonica Sans" panose="02000003020000060003" pitchFamily="50" charset="0"/>
              </a:rPr>
              <a:t>Enviamos el documento de adhesión para actuar como representante voluntario del Asociado, para su firma a través de nuestra plataforma </a:t>
            </a:r>
            <a:r>
              <a:rPr lang="es-ES" err="1">
                <a:solidFill>
                  <a:schemeClr val="tx1"/>
                </a:solidFill>
                <a:latin typeface="Telefonica Sans" panose="02000003020000060003" pitchFamily="50" charset="0"/>
              </a:rPr>
              <a:t>Evicertia</a:t>
            </a:r>
            <a:r>
              <a:rPr lang="es-ES">
                <a:solidFill>
                  <a:schemeClr val="tx1"/>
                </a:solidFill>
                <a:latin typeface="Telefonica Sans" panose="02000003020000060003" pitchFamily="50" charset="0"/>
              </a:rPr>
              <a:t>. </a:t>
            </a:r>
          </a:p>
        </p:txBody>
      </p:sp>
      <p:sp>
        <p:nvSpPr>
          <p:cNvPr id="45" name="Elipse 44">
            <a:extLst>
              <a:ext uri="{FF2B5EF4-FFF2-40B4-BE49-F238E27FC236}">
                <a16:creationId xmlns:a16="http://schemas.microsoft.com/office/drawing/2014/main" id="{01600F46-E6FF-98FC-D003-DAF366E4591F}"/>
              </a:ext>
            </a:extLst>
          </p:cNvPr>
          <p:cNvSpPr/>
          <p:nvPr/>
        </p:nvSpPr>
        <p:spPr>
          <a:xfrm>
            <a:off x="3568295" y="2521858"/>
            <a:ext cx="630194" cy="615314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 dirty="0">
                <a:latin typeface="Telefonica Sans" panose="02000003020000060003" pitchFamily="50" charset="0"/>
              </a:rPr>
              <a:t>2</a:t>
            </a:r>
          </a:p>
        </p:txBody>
      </p:sp>
      <p:sp>
        <p:nvSpPr>
          <p:cNvPr id="46" name="Elipse 45">
            <a:extLst>
              <a:ext uri="{FF2B5EF4-FFF2-40B4-BE49-F238E27FC236}">
                <a16:creationId xmlns:a16="http://schemas.microsoft.com/office/drawing/2014/main" id="{D2282ED6-9D30-0C22-9F72-EB9DBE7FB8FA}"/>
              </a:ext>
            </a:extLst>
          </p:cNvPr>
          <p:cNvSpPr/>
          <p:nvPr/>
        </p:nvSpPr>
        <p:spPr>
          <a:xfrm>
            <a:off x="3572978" y="3490089"/>
            <a:ext cx="630194" cy="615314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 dirty="0">
                <a:latin typeface="Telefonica Sans" panose="02000003020000060003" pitchFamily="50" charset="0"/>
              </a:rPr>
              <a:t>3</a:t>
            </a: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7912C444-30EE-DB61-C726-BB1BA50884F7}"/>
              </a:ext>
            </a:extLst>
          </p:cNvPr>
          <p:cNvSpPr txBox="1"/>
          <p:nvPr/>
        </p:nvSpPr>
        <p:spPr>
          <a:xfrm>
            <a:off x="4352369" y="4907521"/>
            <a:ext cx="55627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dirty="0">
                <a:solidFill>
                  <a:schemeClr val="tx1"/>
                </a:solidFill>
                <a:latin typeface="Telefonica Sans" panose="02000003020000060003" pitchFamily="50" charset="0"/>
              </a:rPr>
              <a:t>Nos encargamos de realizar las gestiones de solicitud del Bono en nombre del Asociado.</a:t>
            </a:r>
          </a:p>
        </p:txBody>
      </p:sp>
      <p:sp>
        <p:nvSpPr>
          <p:cNvPr id="50" name="Elipse 49">
            <a:extLst>
              <a:ext uri="{FF2B5EF4-FFF2-40B4-BE49-F238E27FC236}">
                <a16:creationId xmlns:a16="http://schemas.microsoft.com/office/drawing/2014/main" id="{6485CD54-A6C2-411C-1080-E7419F34CB55}"/>
              </a:ext>
            </a:extLst>
          </p:cNvPr>
          <p:cNvSpPr/>
          <p:nvPr/>
        </p:nvSpPr>
        <p:spPr>
          <a:xfrm>
            <a:off x="3568295" y="4887449"/>
            <a:ext cx="630194" cy="615314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 dirty="0">
                <a:latin typeface="Telefonica Sans" panose="02000003020000060003" pitchFamily="50" charset="0"/>
              </a:rPr>
              <a:t>4</a:t>
            </a:r>
          </a:p>
        </p:txBody>
      </p:sp>
      <p:sp>
        <p:nvSpPr>
          <p:cNvPr id="58" name="CuadroTexto 57">
            <a:extLst>
              <a:ext uri="{FF2B5EF4-FFF2-40B4-BE49-F238E27FC236}">
                <a16:creationId xmlns:a16="http://schemas.microsoft.com/office/drawing/2014/main" id="{1812F193-FFCD-0BE5-C748-9B7F6B873FBF}"/>
              </a:ext>
            </a:extLst>
          </p:cNvPr>
          <p:cNvSpPr txBox="1"/>
          <p:nvPr/>
        </p:nvSpPr>
        <p:spPr>
          <a:xfrm>
            <a:off x="10494640" y="2744567"/>
            <a:ext cx="3987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dirty="0">
                <a:solidFill>
                  <a:schemeClr val="tx1"/>
                </a:solidFill>
                <a:latin typeface="Telefonica Sans" panose="02000003020000060003" pitchFamily="50" charset="0"/>
              </a:rPr>
              <a:t>Firma el contrato con firma digital.</a:t>
            </a:r>
          </a:p>
        </p:txBody>
      </p:sp>
      <p:sp>
        <p:nvSpPr>
          <p:cNvPr id="59" name="CuadroTexto 58">
            <a:extLst>
              <a:ext uri="{FF2B5EF4-FFF2-40B4-BE49-F238E27FC236}">
                <a16:creationId xmlns:a16="http://schemas.microsoft.com/office/drawing/2014/main" id="{392216ED-B8A1-EC3E-A883-25D174E9B6AB}"/>
              </a:ext>
            </a:extLst>
          </p:cNvPr>
          <p:cNvSpPr txBox="1"/>
          <p:nvPr/>
        </p:nvSpPr>
        <p:spPr>
          <a:xfrm>
            <a:off x="10528916" y="3339461"/>
            <a:ext cx="37742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>
                <a:solidFill>
                  <a:schemeClr val="tx1"/>
                </a:solidFill>
                <a:latin typeface="Telefonica Sans" panose="02000003020000060003" pitchFamily="50" charset="0"/>
              </a:rPr>
              <a:t>Firma el documento de adhesión</a:t>
            </a:r>
          </a:p>
          <a:p>
            <a:pPr algn="just"/>
            <a:r>
              <a:rPr lang="es-ES">
                <a:solidFill>
                  <a:schemeClr val="tx1"/>
                </a:solidFill>
                <a:latin typeface="Telefonica Sans" panose="02000003020000060003" pitchFamily="50" charset="0"/>
              </a:rPr>
              <a:t>con firma digital.</a:t>
            </a:r>
          </a:p>
        </p:txBody>
      </p:sp>
      <p:sp>
        <p:nvSpPr>
          <p:cNvPr id="64" name="CuadroTexto 63">
            <a:extLst>
              <a:ext uri="{FF2B5EF4-FFF2-40B4-BE49-F238E27FC236}">
                <a16:creationId xmlns:a16="http://schemas.microsoft.com/office/drawing/2014/main" id="{53C20FD9-A419-5D93-0724-512BE7CE1065}"/>
              </a:ext>
            </a:extLst>
          </p:cNvPr>
          <p:cNvSpPr txBox="1"/>
          <p:nvPr/>
        </p:nvSpPr>
        <p:spPr>
          <a:xfrm>
            <a:off x="15082147" y="2761840"/>
            <a:ext cx="40264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dirty="0">
                <a:solidFill>
                  <a:schemeClr val="tx1"/>
                </a:solidFill>
                <a:latin typeface="Telefonica Sans" panose="02000003020000060003" pitchFamily="50" charset="0"/>
              </a:rPr>
              <a:t>Asegura que el Asociado firma el contrato (Copys).</a:t>
            </a: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2038FFEE-9B2F-B881-0AE8-1770618E7273}"/>
              </a:ext>
            </a:extLst>
          </p:cNvPr>
          <p:cNvSpPr txBox="1"/>
          <p:nvPr/>
        </p:nvSpPr>
        <p:spPr>
          <a:xfrm>
            <a:off x="15082148" y="3403594"/>
            <a:ext cx="42901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dirty="0">
                <a:solidFill>
                  <a:schemeClr val="tx1"/>
                </a:solidFill>
                <a:latin typeface="Telefonica Sans" panose="02000003020000060003" pitchFamily="50" charset="0"/>
              </a:rPr>
              <a:t>Asegura que el Asociado firma el documento de adhesión (delegación).</a:t>
            </a:r>
          </a:p>
        </p:txBody>
      </p:sp>
      <p:sp>
        <p:nvSpPr>
          <p:cNvPr id="67" name="CuadroTexto 66">
            <a:extLst>
              <a:ext uri="{FF2B5EF4-FFF2-40B4-BE49-F238E27FC236}">
                <a16:creationId xmlns:a16="http://schemas.microsoft.com/office/drawing/2014/main" id="{7F5B0659-325C-0760-5652-65FB9F9F071B}"/>
              </a:ext>
            </a:extLst>
          </p:cNvPr>
          <p:cNvSpPr txBox="1"/>
          <p:nvPr/>
        </p:nvSpPr>
        <p:spPr>
          <a:xfrm>
            <a:off x="10528916" y="4474615"/>
            <a:ext cx="435609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dirty="0">
                <a:solidFill>
                  <a:schemeClr val="tx1"/>
                </a:solidFill>
                <a:latin typeface="Telefonica Sans" panose="02000003020000060003" pitchFamily="50" charset="0"/>
              </a:rPr>
              <a:t>Recibe comunicación de la Administración: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Telefonica Sans" panose="02000003020000060003" pitchFamily="50" charset="0"/>
              </a:rPr>
              <a:t>Se concede el bono</a:t>
            </a:r>
          </a:p>
          <a:p>
            <a:pPr marL="285750" lvl="8" indent="-285750" algn="l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Telefonica Sans" panose="02000003020000060003" pitchFamily="50" charset="0"/>
              </a:rPr>
              <a:t>No se concede </a:t>
            </a:r>
            <a:r>
              <a:rPr lang="es-ES" sz="1600" dirty="0">
                <a:solidFill>
                  <a:schemeClr val="tx1"/>
                </a:solidFill>
                <a:latin typeface="Telefonica Sans" panose="02000003020000060003" pitchFamily="50" charset="0"/>
                <a:sym typeface="Wingdings" panose="05000000000000000000" pitchFamily="2" charset="2"/>
              </a:rPr>
              <a:t> necesidad de SUBSANACIÓN con los motivos indicados. (Normalmente falta de información) </a:t>
            </a:r>
            <a:endParaRPr lang="es-ES" sz="1600" dirty="0">
              <a:solidFill>
                <a:schemeClr val="tx1"/>
              </a:solidFill>
              <a:latin typeface="Telefonica Sans" panose="02000003020000060003" pitchFamily="50" charset="0"/>
            </a:endParaRPr>
          </a:p>
        </p:txBody>
      </p:sp>
      <p:sp>
        <p:nvSpPr>
          <p:cNvPr id="68" name="CuadroTexto 67">
            <a:extLst>
              <a:ext uri="{FF2B5EF4-FFF2-40B4-BE49-F238E27FC236}">
                <a16:creationId xmlns:a16="http://schemas.microsoft.com/office/drawing/2014/main" id="{90153984-08E1-90CC-521B-2C6969B72912}"/>
              </a:ext>
            </a:extLst>
          </p:cNvPr>
          <p:cNvSpPr txBox="1"/>
          <p:nvPr/>
        </p:nvSpPr>
        <p:spPr>
          <a:xfrm>
            <a:off x="15136521" y="4775441"/>
            <a:ext cx="38244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dirty="0">
                <a:solidFill>
                  <a:schemeClr val="tx1"/>
                </a:solidFill>
                <a:latin typeface="Telefonica Sans" panose="02000003020000060003" pitchFamily="50" charset="0"/>
              </a:rPr>
              <a:t>En caso de requerir subsanación, la Asociación debe ayudar al Asociado a subsanar el expediente. </a:t>
            </a:r>
            <a:endParaRPr lang="es-ES" sz="1600" dirty="0">
              <a:solidFill>
                <a:schemeClr val="tx1"/>
              </a:solidFill>
              <a:latin typeface="Telefonica Sans" panose="02000003020000060003" pitchFamily="50" charset="0"/>
            </a:endParaRPr>
          </a:p>
        </p:txBody>
      </p:sp>
      <p:sp>
        <p:nvSpPr>
          <p:cNvPr id="70" name="CuadroTexto 69">
            <a:extLst>
              <a:ext uri="{FF2B5EF4-FFF2-40B4-BE49-F238E27FC236}">
                <a16:creationId xmlns:a16="http://schemas.microsoft.com/office/drawing/2014/main" id="{497A868D-792A-A5C7-20C3-3986EFC7D370}"/>
              </a:ext>
            </a:extLst>
          </p:cNvPr>
          <p:cNvSpPr txBox="1"/>
          <p:nvPr/>
        </p:nvSpPr>
        <p:spPr>
          <a:xfrm>
            <a:off x="4378324" y="6368262"/>
            <a:ext cx="55108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>
                <a:solidFill>
                  <a:schemeClr val="tx1"/>
                </a:solidFill>
                <a:latin typeface="Telefonica Sans" panose="02000003020000060003" pitchFamily="50" charset="0"/>
              </a:rPr>
              <a:t>Gestionaremos los acuerdos de Prestación de Servicios en la sede de Cámara España y firmaremos como agente digitalizador (siempre se provisionaría en último lugar el acuerdo de Puesto de Trabajo Seguro con el PC según se establece en el programa de Kit Digital).</a:t>
            </a:r>
          </a:p>
        </p:txBody>
      </p:sp>
      <p:sp>
        <p:nvSpPr>
          <p:cNvPr id="71" name="Elipse 70">
            <a:extLst>
              <a:ext uri="{FF2B5EF4-FFF2-40B4-BE49-F238E27FC236}">
                <a16:creationId xmlns:a16="http://schemas.microsoft.com/office/drawing/2014/main" id="{402B427A-8640-7A2E-AC22-4905E479EFE3}"/>
              </a:ext>
            </a:extLst>
          </p:cNvPr>
          <p:cNvSpPr/>
          <p:nvPr/>
        </p:nvSpPr>
        <p:spPr>
          <a:xfrm>
            <a:off x="3550997" y="6937768"/>
            <a:ext cx="630194" cy="615314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 dirty="0">
                <a:latin typeface="Telefonica Sans" panose="02000003020000060003" pitchFamily="50" charset="0"/>
              </a:rPr>
              <a:t>5</a:t>
            </a:r>
          </a:p>
        </p:txBody>
      </p:sp>
      <p:sp>
        <p:nvSpPr>
          <p:cNvPr id="74" name="CuadroTexto 73">
            <a:extLst>
              <a:ext uri="{FF2B5EF4-FFF2-40B4-BE49-F238E27FC236}">
                <a16:creationId xmlns:a16="http://schemas.microsoft.com/office/drawing/2014/main" id="{3DD40724-299E-02EA-ACBA-9AD618D5FF9A}"/>
              </a:ext>
            </a:extLst>
          </p:cNvPr>
          <p:cNvSpPr txBox="1"/>
          <p:nvPr/>
        </p:nvSpPr>
        <p:spPr>
          <a:xfrm>
            <a:off x="10528916" y="6783760"/>
            <a:ext cx="43560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dirty="0">
                <a:solidFill>
                  <a:schemeClr val="tx1"/>
                </a:solidFill>
                <a:latin typeface="Telefonica Sans" panose="02000003020000060003" pitchFamily="50" charset="0"/>
              </a:rPr>
              <a:t>Debe firmar los dos acuerdos que componen el </a:t>
            </a:r>
            <a:r>
              <a:rPr lang="es-ES" i="1" dirty="0">
                <a:solidFill>
                  <a:schemeClr val="tx1"/>
                </a:solidFill>
                <a:latin typeface="Telefonica Sans" panose="02000003020000060003" pitchFamily="50" charset="0"/>
              </a:rPr>
              <a:t>bundle</a:t>
            </a:r>
            <a:r>
              <a:rPr lang="es-ES" dirty="0">
                <a:solidFill>
                  <a:schemeClr val="tx1"/>
                </a:solidFill>
                <a:latin typeface="Telefonica Sans" panose="02000003020000060003" pitchFamily="50" charset="0"/>
              </a:rPr>
              <a:t> en Cámara España. </a:t>
            </a:r>
            <a:endParaRPr lang="es-ES" sz="1600" dirty="0">
              <a:solidFill>
                <a:schemeClr val="tx1"/>
              </a:solidFill>
              <a:latin typeface="Telefonica Sans" panose="02000003020000060003" pitchFamily="50" charset="0"/>
            </a:endParaRPr>
          </a:p>
        </p:txBody>
      </p:sp>
      <p:sp>
        <p:nvSpPr>
          <p:cNvPr id="75" name="CuadroTexto 74">
            <a:extLst>
              <a:ext uri="{FF2B5EF4-FFF2-40B4-BE49-F238E27FC236}">
                <a16:creationId xmlns:a16="http://schemas.microsoft.com/office/drawing/2014/main" id="{9B6E783C-2937-2A41-72B0-C2808CE8F85C}"/>
              </a:ext>
            </a:extLst>
          </p:cNvPr>
          <p:cNvSpPr txBox="1"/>
          <p:nvPr/>
        </p:nvSpPr>
        <p:spPr>
          <a:xfrm>
            <a:off x="15111435" y="6784789"/>
            <a:ext cx="43560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dirty="0">
                <a:solidFill>
                  <a:schemeClr val="tx1"/>
                </a:solidFill>
                <a:latin typeface="Telefonica Sans" panose="02000003020000060003" pitchFamily="50" charset="0"/>
              </a:rPr>
              <a:t>Asegura que el Asociado firma los dos  acuerdos.</a:t>
            </a:r>
            <a:endParaRPr lang="es-ES" sz="1600" dirty="0">
              <a:solidFill>
                <a:schemeClr val="tx1"/>
              </a:solidFill>
              <a:latin typeface="Telefonica Sans" panose="02000003020000060003" pitchFamily="50" charset="0"/>
            </a:endParaRPr>
          </a:p>
        </p:txBody>
      </p:sp>
      <p:sp>
        <p:nvSpPr>
          <p:cNvPr id="77" name="CuadroTexto 76">
            <a:extLst>
              <a:ext uri="{FF2B5EF4-FFF2-40B4-BE49-F238E27FC236}">
                <a16:creationId xmlns:a16="http://schemas.microsoft.com/office/drawing/2014/main" id="{0C09F91E-7BFD-80D1-4E85-C01A0E89EDC8}"/>
              </a:ext>
            </a:extLst>
          </p:cNvPr>
          <p:cNvSpPr txBox="1"/>
          <p:nvPr/>
        </p:nvSpPr>
        <p:spPr>
          <a:xfrm>
            <a:off x="4378324" y="8292805"/>
            <a:ext cx="55898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dirty="0">
                <a:solidFill>
                  <a:schemeClr val="tx1"/>
                </a:solidFill>
                <a:latin typeface="Telefonica Sans" panose="02000003020000060003" pitchFamily="50" charset="0"/>
              </a:rPr>
              <a:t>En JUSTIFICACIÓN I, en un plazo de 3 meses desde la firma del acuerdo instalaremos la solución, provisionaremos los equipos y emitiremos la factura del impuesto (IVA, IGIC..). Valida la Administración. </a:t>
            </a:r>
          </a:p>
        </p:txBody>
      </p:sp>
      <p:sp>
        <p:nvSpPr>
          <p:cNvPr id="79" name="CuadroTexto 78">
            <a:extLst>
              <a:ext uri="{FF2B5EF4-FFF2-40B4-BE49-F238E27FC236}">
                <a16:creationId xmlns:a16="http://schemas.microsoft.com/office/drawing/2014/main" id="{53F91F6E-00A8-27D7-C0ED-FA4DEAFB8F91}"/>
              </a:ext>
            </a:extLst>
          </p:cNvPr>
          <p:cNvSpPr txBox="1"/>
          <p:nvPr/>
        </p:nvSpPr>
        <p:spPr>
          <a:xfrm>
            <a:off x="4378324" y="9543284"/>
            <a:ext cx="565483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>
                <a:solidFill>
                  <a:schemeClr val="tx1"/>
                </a:solidFill>
                <a:latin typeface="Telefonica Sans" panose="02000003020000060003" pitchFamily="50" charset="0"/>
              </a:rPr>
              <a:t>En JUSTIFICACIÓN II,  a los 12 meses de la firma del acuerdo, se inicia un periodo de 3 meses para firma del acuerdo instalaremos la solución, provisionaremos los equipos y emitiremos la factura. </a:t>
            </a:r>
          </a:p>
        </p:txBody>
      </p:sp>
      <p:sp>
        <p:nvSpPr>
          <p:cNvPr id="81" name="Elipse 80">
            <a:extLst>
              <a:ext uri="{FF2B5EF4-FFF2-40B4-BE49-F238E27FC236}">
                <a16:creationId xmlns:a16="http://schemas.microsoft.com/office/drawing/2014/main" id="{3E01B21E-6365-2EF0-DDFA-9BCA086B479F}"/>
              </a:ext>
            </a:extLst>
          </p:cNvPr>
          <p:cNvSpPr/>
          <p:nvPr/>
        </p:nvSpPr>
        <p:spPr>
          <a:xfrm>
            <a:off x="3568295" y="8692094"/>
            <a:ext cx="630194" cy="615314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 dirty="0">
                <a:latin typeface="Telefonica Sans" panose="02000003020000060003" pitchFamily="50" charset="0"/>
              </a:rPr>
              <a:t>6</a:t>
            </a:r>
          </a:p>
        </p:txBody>
      </p:sp>
      <p:sp>
        <p:nvSpPr>
          <p:cNvPr id="82" name="Elipse 81">
            <a:extLst>
              <a:ext uri="{FF2B5EF4-FFF2-40B4-BE49-F238E27FC236}">
                <a16:creationId xmlns:a16="http://schemas.microsoft.com/office/drawing/2014/main" id="{50B02E5D-984A-ECA4-9B70-819865CECADA}"/>
              </a:ext>
            </a:extLst>
          </p:cNvPr>
          <p:cNvSpPr/>
          <p:nvPr/>
        </p:nvSpPr>
        <p:spPr>
          <a:xfrm>
            <a:off x="3568295" y="9706697"/>
            <a:ext cx="630194" cy="615314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 dirty="0">
                <a:latin typeface="Telefonica Sans" panose="02000003020000060003" pitchFamily="50" charset="0"/>
              </a:rPr>
              <a:t>7</a:t>
            </a:r>
          </a:p>
        </p:txBody>
      </p:sp>
      <p:sp>
        <p:nvSpPr>
          <p:cNvPr id="85" name="CuadroTexto 84">
            <a:extLst>
              <a:ext uri="{FF2B5EF4-FFF2-40B4-BE49-F238E27FC236}">
                <a16:creationId xmlns:a16="http://schemas.microsoft.com/office/drawing/2014/main" id="{F0A268FA-6F96-7590-96B6-2990D85F2D4F}"/>
              </a:ext>
            </a:extLst>
          </p:cNvPr>
          <p:cNvSpPr txBox="1"/>
          <p:nvPr/>
        </p:nvSpPr>
        <p:spPr>
          <a:xfrm>
            <a:off x="10528915" y="8334877"/>
            <a:ext cx="4356099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tx1"/>
                </a:solidFill>
                <a:latin typeface="Telefonica Sans" panose="02000003020000060003" pitchFamily="50" charset="0"/>
              </a:rPr>
              <a:t>Paga la factura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Telefonica Sans" panose="02000003020000060003" pitchFamily="50" charset="0"/>
              </a:rPr>
              <a:t>Usa los servicios durante el periodo de la subvención (12 meses)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Telefonica Sans" panose="02000003020000060003" pitchFamily="50" charset="0"/>
              </a:rPr>
              <a:t>Colabora con su Agente Digitalizador (Telefónica) para facilitar las evidencias necesarias para presentar las justificacione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/>
                </a:solidFill>
                <a:latin typeface="Telefonica Sans" panose="02000003020000060003" pitchFamily="50" charset="0"/>
              </a:rPr>
              <a:t>Da la conformidad a las soluciones en la web del programa Kit Digital. </a:t>
            </a:r>
          </a:p>
        </p:txBody>
      </p:sp>
      <p:sp>
        <p:nvSpPr>
          <p:cNvPr id="88" name="CuadroTexto 87">
            <a:extLst>
              <a:ext uri="{FF2B5EF4-FFF2-40B4-BE49-F238E27FC236}">
                <a16:creationId xmlns:a16="http://schemas.microsoft.com/office/drawing/2014/main" id="{B4DE2B72-39F0-76E5-4E97-2AD51B1887FB}"/>
              </a:ext>
            </a:extLst>
          </p:cNvPr>
          <p:cNvSpPr txBox="1"/>
          <p:nvPr/>
        </p:nvSpPr>
        <p:spPr>
          <a:xfrm>
            <a:off x="15082148" y="8335322"/>
            <a:ext cx="435609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>
                <a:solidFill>
                  <a:schemeClr val="tx1"/>
                </a:solidFill>
                <a:latin typeface="Telefonica Sans" panose="02000003020000060003" pitchFamily="50" charset="0"/>
              </a:rPr>
              <a:t>Asegura que el Asociado: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>
                <a:solidFill>
                  <a:schemeClr val="tx1"/>
                </a:solidFill>
                <a:latin typeface="Telefonica Sans" panose="02000003020000060003" pitchFamily="50" charset="0"/>
              </a:rPr>
              <a:t>Paga la factura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600">
                <a:solidFill>
                  <a:schemeClr val="tx1"/>
                </a:solidFill>
                <a:latin typeface="Telefonica Sans" panose="02000003020000060003" pitchFamily="50" charset="0"/>
              </a:rPr>
              <a:t>Usa los servicios.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600">
                <a:solidFill>
                  <a:schemeClr val="tx1"/>
                </a:solidFill>
                <a:latin typeface="Telefonica Sans" panose="02000003020000060003" pitchFamily="50" charset="0"/>
              </a:rPr>
              <a:t>Da conformidad a las solucione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600">
                <a:solidFill>
                  <a:schemeClr val="tx1"/>
                </a:solidFill>
                <a:latin typeface="Telefonica Sans" panose="02000003020000060003" pitchFamily="50" charset="0"/>
              </a:rPr>
              <a:t>La validación de la JUSTIFICACIÓN I será el hecho liquidable para la Asociación.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7536506-39E6-962C-6717-6F2AB51212ED}"/>
              </a:ext>
            </a:extLst>
          </p:cNvPr>
          <p:cNvSpPr txBox="1"/>
          <p:nvPr/>
        </p:nvSpPr>
        <p:spPr>
          <a:xfrm>
            <a:off x="15082148" y="10551313"/>
            <a:ext cx="491325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s-ES" sz="1400" i="1" dirty="0">
                <a:solidFill>
                  <a:schemeClr val="tx1"/>
                </a:solidFill>
                <a:latin typeface="Telefonica Sans" panose="02000003020000060003" pitchFamily="50" charset="0"/>
              </a:rPr>
              <a:t>*Dentro del entorno web facilitado por Telefónica, se le facilitará un Panel de Control de todos sus Asociados.  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974320AD-B3DF-0E2C-830A-E3B0BF1FE63C}"/>
              </a:ext>
            </a:extLst>
          </p:cNvPr>
          <p:cNvSpPr txBox="1"/>
          <p:nvPr/>
        </p:nvSpPr>
        <p:spPr>
          <a:xfrm>
            <a:off x="15049815" y="2070517"/>
            <a:ext cx="479012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 kern="1200" dirty="0">
                <a:solidFill>
                  <a:srgbClr val="586179"/>
                </a:solidFill>
                <a:latin typeface="Telefonica Sans" panose="02000003020000060003" pitchFamily="50" charset="0"/>
                <a:ea typeface="+mn-ea"/>
                <a:cs typeface="+mn-cs"/>
              </a:rPr>
              <a:t>Ayuda a recoger la información de tu asociado desde el entorno web</a:t>
            </a:r>
            <a:endParaRPr lang="es-ES" dirty="0"/>
          </a:p>
        </p:txBody>
      </p:sp>
      <p:sp>
        <p:nvSpPr>
          <p:cNvPr id="7" name="Rectángulo: esquinas redondeadas 6">
            <a:extLst>
              <a:ext uri="{FF2B5EF4-FFF2-40B4-BE49-F238E27FC236}">
                <a16:creationId xmlns:a16="http://schemas.microsoft.com/office/drawing/2014/main" id="{168B128E-A41C-A1CE-92AA-2AB8E29AD053}"/>
              </a:ext>
            </a:extLst>
          </p:cNvPr>
          <p:cNvSpPr/>
          <p:nvPr/>
        </p:nvSpPr>
        <p:spPr>
          <a:xfrm>
            <a:off x="316953" y="1885376"/>
            <a:ext cx="3088256" cy="397986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>
                <a:latin typeface="Telefonica Sans" panose="02000003020000060003" pitchFamily="50" charset="0"/>
              </a:rPr>
              <a:t>GESTIÓN INICIAL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46C04393-384B-C593-3233-940BB277576E}"/>
              </a:ext>
            </a:extLst>
          </p:cNvPr>
          <p:cNvSpPr txBox="1"/>
          <p:nvPr/>
        </p:nvSpPr>
        <p:spPr>
          <a:xfrm>
            <a:off x="4352369" y="1951104"/>
            <a:ext cx="55627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dirty="0">
                <a:solidFill>
                  <a:schemeClr val="tx1"/>
                </a:solidFill>
                <a:latin typeface="Telefonica Sans" panose="02000003020000060003" pitchFamily="50" charset="0"/>
              </a:rPr>
              <a:t>Habilitamos la web de gestión.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556FB62B-5787-0F62-C4F7-484C1158FD76}"/>
              </a:ext>
            </a:extLst>
          </p:cNvPr>
          <p:cNvSpPr txBox="1"/>
          <p:nvPr/>
        </p:nvSpPr>
        <p:spPr>
          <a:xfrm>
            <a:off x="10528915" y="1992548"/>
            <a:ext cx="435609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 kern="1200" dirty="0">
                <a:solidFill>
                  <a:srgbClr val="586179"/>
                </a:solidFill>
                <a:latin typeface="Telefonica Sans" panose="02000003020000060003" pitchFamily="50" charset="0"/>
                <a:ea typeface="+mn-ea"/>
                <a:cs typeface="+mn-cs"/>
              </a:rPr>
              <a:t>Proporciona la información  para la elaboración del contrato y solicitud </a:t>
            </a:r>
            <a:endParaRPr lang="es-ES" dirty="0"/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341FF9EA-DE39-4A12-4FAE-2D3371065B71}"/>
              </a:ext>
            </a:extLst>
          </p:cNvPr>
          <p:cNvSpPr/>
          <p:nvPr/>
        </p:nvSpPr>
        <p:spPr>
          <a:xfrm>
            <a:off x="3550997" y="1730086"/>
            <a:ext cx="630194" cy="615314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latin typeface="Telefonica Sans" panose="02000003020000060003" pitchFamily="50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576333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088CBEE-6148-4B18-82AC-4C04C17835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/>
              <a:t>COMPROMISOS DEL CLIENTE CON KIT DIGITAL</a:t>
            </a:r>
            <a:endParaRPr lang="es-ES"/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ACAD562C-6071-7CAC-0BAC-7D5BBFE7C32A}"/>
              </a:ext>
            </a:extLst>
          </p:cNvPr>
          <p:cNvSpPr/>
          <p:nvPr/>
        </p:nvSpPr>
        <p:spPr>
          <a:xfrm>
            <a:off x="120991" y="2740451"/>
            <a:ext cx="2929910" cy="2765002"/>
          </a:xfrm>
          <a:prstGeom prst="ellipse">
            <a:avLst/>
          </a:prstGeom>
          <a:solidFill>
            <a:srgbClr val="579BF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/>
          <a:lstStyle/>
          <a:p>
            <a:endParaRPr lang="es-ES"/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D9A57F89-D08B-5190-7BD2-C907137AAAF2}"/>
              </a:ext>
            </a:extLst>
          </p:cNvPr>
          <p:cNvSpPr/>
          <p:nvPr/>
        </p:nvSpPr>
        <p:spPr>
          <a:xfrm>
            <a:off x="4324757" y="2740451"/>
            <a:ext cx="2929910" cy="2765002"/>
          </a:xfrm>
          <a:prstGeom prst="ellipse">
            <a:avLst/>
          </a:prstGeom>
          <a:solidFill>
            <a:srgbClr val="579BF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/>
          <a:lstStyle/>
          <a:p>
            <a:endParaRPr lang="es-ES"/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9AB04803-EE33-33CF-8C17-364AE115F221}"/>
              </a:ext>
            </a:extLst>
          </p:cNvPr>
          <p:cNvSpPr/>
          <p:nvPr/>
        </p:nvSpPr>
        <p:spPr>
          <a:xfrm>
            <a:off x="8528523" y="2740451"/>
            <a:ext cx="2929910" cy="2765002"/>
          </a:xfrm>
          <a:prstGeom prst="ellipse">
            <a:avLst/>
          </a:prstGeom>
          <a:solidFill>
            <a:srgbClr val="579BF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/>
          <a:lstStyle/>
          <a:p>
            <a:endParaRPr lang="es-ES"/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9F63EF6A-C8E2-F61D-0B6A-9C503813335E}"/>
              </a:ext>
            </a:extLst>
          </p:cNvPr>
          <p:cNvSpPr/>
          <p:nvPr/>
        </p:nvSpPr>
        <p:spPr>
          <a:xfrm>
            <a:off x="12732289" y="2740451"/>
            <a:ext cx="2929910" cy="2765002"/>
          </a:xfrm>
          <a:prstGeom prst="ellipse">
            <a:avLst/>
          </a:prstGeom>
          <a:solidFill>
            <a:srgbClr val="579BF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/>
          <a:lstStyle/>
          <a:p>
            <a:endParaRPr lang="es-ES"/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8877B3FA-E5AB-073C-A423-68F6708C6AE3}"/>
              </a:ext>
            </a:extLst>
          </p:cNvPr>
          <p:cNvSpPr/>
          <p:nvPr/>
        </p:nvSpPr>
        <p:spPr>
          <a:xfrm>
            <a:off x="3131097" y="3546036"/>
            <a:ext cx="1006940" cy="951104"/>
          </a:xfrm>
          <a:prstGeom prst="ellipse">
            <a:avLst/>
          </a:prstGeom>
          <a:solidFill>
            <a:srgbClr val="579BF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/>
          <a:lstStyle/>
          <a:p>
            <a:endParaRPr lang="es-ES"/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608A4172-0E8C-E21B-E6B7-16A9594AFDD3}"/>
              </a:ext>
            </a:extLst>
          </p:cNvPr>
          <p:cNvSpPr/>
          <p:nvPr/>
        </p:nvSpPr>
        <p:spPr>
          <a:xfrm>
            <a:off x="7362597" y="3546036"/>
            <a:ext cx="1006940" cy="951104"/>
          </a:xfrm>
          <a:prstGeom prst="ellipse">
            <a:avLst/>
          </a:prstGeom>
          <a:solidFill>
            <a:srgbClr val="579BF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/>
          <a:lstStyle/>
          <a:p>
            <a:endParaRPr lang="es-ES"/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7CFE41E0-0987-7E3A-4655-CB2DE608B1CC}"/>
              </a:ext>
            </a:extLst>
          </p:cNvPr>
          <p:cNvSpPr/>
          <p:nvPr/>
        </p:nvSpPr>
        <p:spPr>
          <a:xfrm>
            <a:off x="11594097" y="3546036"/>
            <a:ext cx="1006940" cy="951104"/>
          </a:xfrm>
          <a:prstGeom prst="ellipse">
            <a:avLst/>
          </a:prstGeom>
          <a:solidFill>
            <a:srgbClr val="579BF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/>
          <a:lstStyle/>
          <a:p>
            <a:endParaRPr lang="es-ES"/>
          </a:p>
        </p:txBody>
      </p:sp>
      <p:sp>
        <p:nvSpPr>
          <p:cNvPr id="11" name="object 2">
            <a:extLst>
              <a:ext uri="{FF2B5EF4-FFF2-40B4-BE49-F238E27FC236}">
                <a16:creationId xmlns:a16="http://schemas.microsoft.com/office/drawing/2014/main" id="{DCA7A1E5-1FF8-EDB4-720E-21B64A5DD706}"/>
              </a:ext>
            </a:extLst>
          </p:cNvPr>
          <p:cNvSpPr txBox="1"/>
          <p:nvPr/>
        </p:nvSpPr>
        <p:spPr>
          <a:xfrm>
            <a:off x="-77111" y="3712043"/>
            <a:ext cx="3395001" cy="729739"/>
          </a:xfrm>
          <a:prstGeom prst="rect">
            <a:avLst/>
          </a:prstGeom>
        </p:spPr>
        <p:txBody>
          <a:bodyPr vert="horz" wrap="square" lIns="0" tIns="18848" rIns="0" bIns="0" rtlCol="0">
            <a:spAutoFit/>
          </a:bodyPr>
          <a:lstStyle/>
          <a:p>
            <a:pPr marL="20942" algn="ctr" defTabSz="1507846" rtl="0"/>
            <a:r>
              <a:rPr lang="es-ES" sz="2309" b="1" kern="1200">
                <a:solidFill>
                  <a:srgbClr val="FFFFFF"/>
                </a:solidFill>
                <a:latin typeface="Telefonica Sans" panose="02000003020000060003" pitchFamily="50" charset="0"/>
                <a:ea typeface="+mn-ea"/>
                <a:cs typeface="Telefonica Sans Medium"/>
              </a:rPr>
              <a:t>Firma </a:t>
            </a:r>
            <a:r>
              <a:rPr lang="es-ES" sz="2309" kern="1200">
                <a:solidFill>
                  <a:srgbClr val="FFFFFF"/>
                </a:solidFill>
                <a:latin typeface="Telefonica Sans" panose="02000003020000060003" pitchFamily="50" charset="0"/>
                <a:ea typeface="+mn-ea"/>
                <a:cs typeface="Telefonica Sans Medium"/>
              </a:rPr>
              <a:t>del contrato privado</a:t>
            </a:r>
            <a:endParaRPr lang="es-ES" sz="2309" kern="1200" spc="-231">
              <a:solidFill>
                <a:srgbClr val="FFFFFF"/>
              </a:solidFill>
              <a:latin typeface="Telefonica Sans Medium"/>
              <a:ea typeface="+mn-ea"/>
              <a:cs typeface="Telefonica Sans Medium"/>
            </a:endParaRPr>
          </a:p>
        </p:txBody>
      </p:sp>
      <p:sp>
        <p:nvSpPr>
          <p:cNvPr id="12" name="object 2">
            <a:extLst>
              <a:ext uri="{FF2B5EF4-FFF2-40B4-BE49-F238E27FC236}">
                <a16:creationId xmlns:a16="http://schemas.microsoft.com/office/drawing/2014/main" id="{C0E5EF56-34E7-2889-0718-D3B23AC2A50F}"/>
              </a:ext>
            </a:extLst>
          </p:cNvPr>
          <p:cNvSpPr txBox="1"/>
          <p:nvPr/>
        </p:nvSpPr>
        <p:spPr>
          <a:xfrm>
            <a:off x="4444032" y="3728239"/>
            <a:ext cx="2810635" cy="729739"/>
          </a:xfrm>
          <a:prstGeom prst="rect">
            <a:avLst/>
          </a:prstGeom>
        </p:spPr>
        <p:txBody>
          <a:bodyPr vert="horz" wrap="square" lIns="0" tIns="18848" rIns="0" bIns="0" rtlCol="0">
            <a:spAutoFit/>
          </a:bodyPr>
          <a:lstStyle/>
          <a:p>
            <a:pPr marL="20942" algn="ctr" defTabSz="1507846" rtl="0"/>
            <a:r>
              <a:rPr lang="es-ES" sz="2309" b="1" kern="1200">
                <a:solidFill>
                  <a:srgbClr val="FFFFFF"/>
                </a:solidFill>
                <a:latin typeface="Telefonica Sans" panose="02000003020000060003" pitchFamily="50" charset="0"/>
                <a:ea typeface="+mn-ea"/>
                <a:cs typeface="Telefonica Sans Medium"/>
              </a:rPr>
              <a:t>Validar cada acuerdo (KD)</a:t>
            </a:r>
          </a:p>
        </p:txBody>
      </p:sp>
      <p:sp>
        <p:nvSpPr>
          <p:cNvPr id="13" name="object 2">
            <a:extLst>
              <a:ext uri="{FF2B5EF4-FFF2-40B4-BE49-F238E27FC236}">
                <a16:creationId xmlns:a16="http://schemas.microsoft.com/office/drawing/2014/main" id="{AFBFB751-AC26-11F4-B7D8-5734922234D7}"/>
              </a:ext>
            </a:extLst>
          </p:cNvPr>
          <p:cNvSpPr txBox="1"/>
          <p:nvPr/>
        </p:nvSpPr>
        <p:spPr>
          <a:xfrm>
            <a:off x="8855913" y="3550563"/>
            <a:ext cx="2360631" cy="1392870"/>
          </a:xfrm>
          <a:prstGeom prst="rect">
            <a:avLst/>
          </a:prstGeom>
          <a:noFill/>
        </p:spPr>
        <p:txBody>
          <a:bodyPr vert="horz" wrap="square" lIns="0" tIns="18848" rIns="0" bIns="0" rtlCol="0">
            <a:spAutoFit/>
          </a:bodyPr>
          <a:lstStyle/>
          <a:p>
            <a:pPr marL="20942" algn="ctr" defTabSz="1507846" rtl="0"/>
            <a:r>
              <a:rPr lang="es-ES" sz="2309" b="1" kern="1200">
                <a:solidFill>
                  <a:srgbClr val="FFFFFF"/>
                </a:solidFill>
                <a:latin typeface="Telefonica Sans" panose="02000003020000060003" pitchFamily="50" charset="0"/>
                <a:ea typeface="+mn-ea"/>
                <a:cs typeface="+mn-cs"/>
              </a:rPr>
              <a:t>PAGAR EL IVA  </a:t>
            </a:r>
            <a:r>
              <a:rPr lang="es-ES" sz="2309" kern="1200">
                <a:solidFill>
                  <a:srgbClr val="FFFFFF"/>
                </a:solidFill>
                <a:latin typeface="Telefonica Sans" panose="02000003020000060003" pitchFamily="50" charset="0"/>
                <a:ea typeface="+mn-ea"/>
                <a:cs typeface="+mn-cs"/>
              </a:rPr>
              <a:t>y dar </a:t>
            </a:r>
            <a:r>
              <a:rPr lang="es-ES" sz="2309" b="1" kern="1200">
                <a:solidFill>
                  <a:srgbClr val="FFFFFF"/>
                </a:solidFill>
                <a:latin typeface="Telefonica Sans" panose="02000003020000060003" pitchFamily="50" charset="0"/>
                <a:ea typeface="+mn-ea"/>
                <a:cs typeface="+mn-cs"/>
              </a:rPr>
              <a:t>conformidad a la instalación </a:t>
            </a:r>
            <a:r>
              <a:rPr lang="es-ES" sz="2000" kern="1200">
                <a:solidFill>
                  <a:srgbClr val="FFFFFF"/>
                </a:solidFill>
                <a:latin typeface="Telefonica Sans" panose="02000003020000060003" pitchFamily="50" charset="0"/>
                <a:ea typeface="+mn-ea"/>
                <a:cs typeface="+mn-cs"/>
              </a:rPr>
              <a:t>(Justificación fase I)</a:t>
            </a:r>
            <a:endParaRPr lang="es-ES" sz="2309" kern="1200">
              <a:solidFill>
                <a:srgbClr val="FFFFFF"/>
              </a:solidFill>
              <a:latin typeface="Telefonica Sans" panose="02000003020000060003" pitchFamily="50" charset="0"/>
              <a:ea typeface="+mn-ea"/>
              <a:cs typeface="+mn-cs"/>
            </a:endParaRPr>
          </a:p>
        </p:txBody>
      </p:sp>
      <p:sp>
        <p:nvSpPr>
          <p:cNvPr id="14" name="object 2">
            <a:extLst>
              <a:ext uri="{FF2B5EF4-FFF2-40B4-BE49-F238E27FC236}">
                <a16:creationId xmlns:a16="http://schemas.microsoft.com/office/drawing/2014/main" id="{73CD9B1B-572D-0C8C-0BCB-D25C28318530}"/>
              </a:ext>
            </a:extLst>
          </p:cNvPr>
          <p:cNvSpPr txBox="1"/>
          <p:nvPr/>
        </p:nvSpPr>
        <p:spPr>
          <a:xfrm>
            <a:off x="12985148" y="3550563"/>
            <a:ext cx="2558431" cy="1795801"/>
          </a:xfrm>
          <a:prstGeom prst="rect">
            <a:avLst/>
          </a:prstGeom>
        </p:spPr>
        <p:txBody>
          <a:bodyPr vert="horz" wrap="square" lIns="0" tIns="18848" rIns="0" bIns="0" rtlCol="0">
            <a:spAutoFit/>
          </a:bodyPr>
          <a:lstStyle/>
          <a:p>
            <a:pPr marL="20942" algn="ctr" defTabSz="1507846" rtl="0"/>
            <a:r>
              <a:rPr lang="es-ES" sz="2309" b="1" kern="1200">
                <a:solidFill>
                  <a:srgbClr val="FFFFFF"/>
                </a:solidFill>
                <a:latin typeface="Telefonica Sans" panose="02000003020000060003" pitchFamily="50" charset="0"/>
                <a:ea typeface="+mn-ea"/>
                <a:cs typeface="+mn-cs"/>
              </a:rPr>
              <a:t>Mantener y usar </a:t>
            </a:r>
            <a:r>
              <a:rPr lang="es-ES" sz="2309" kern="1200">
                <a:solidFill>
                  <a:srgbClr val="FFFFFF"/>
                </a:solidFill>
                <a:latin typeface="Telefonica Sans" panose="02000003020000060003" pitchFamily="50" charset="0"/>
                <a:ea typeface="+mn-ea"/>
                <a:cs typeface="+mn-cs"/>
              </a:rPr>
              <a:t>el servicio durante el año de subvención</a:t>
            </a:r>
          </a:p>
          <a:p>
            <a:pPr marL="20942" algn="ctr" defTabSz="1507846" rtl="0"/>
            <a:endParaRPr lang="es-ES" sz="2309" kern="1200" spc="-231">
              <a:solidFill>
                <a:srgbClr val="FFFFFF"/>
              </a:solidFill>
              <a:latin typeface="Telefonica Sans Medium"/>
              <a:ea typeface="+mn-ea"/>
              <a:cs typeface="Telefonica Sans Medium"/>
            </a:endParaRP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5D098A63-ECBE-5399-D2BE-9287CE883DD8}"/>
              </a:ext>
            </a:extLst>
          </p:cNvPr>
          <p:cNvGrpSpPr/>
          <p:nvPr/>
        </p:nvGrpSpPr>
        <p:grpSpPr>
          <a:xfrm>
            <a:off x="1028049" y="2212073"/>
            <a:ext cx="1184683" cy="1108649"/>
            <a:chOff x="3226363" y="1200820"/>
            <a:chExt cx="1006779" cy="1006779"/>
          </a:xfrm>
        </p:grpSpPr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FA307A65-CCAF-E92A-92B0-44CAFA58F8D9}"/>
                </a:ext>
              </a:extLst>
            </p:cNvPr>
            <p:cNvSpPr/>
            <p:nvPr/>
          </p:nvSpPr>
          <p:spPr>
            <a:xfrm>
              <a:off x="3226363" y="1200820"/>
              <a:ext cx="1006779" cy="1006779"/>
            </a:xfrm>
            <a:prstGeom prst="ellipse">
              <a:avLst/>
            </a:prstGeom>
            <a:solidFill>
              <a:srgbClr val="0066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67918" rtl="0"/>
              <a:endParaRPr lang="es-ES" sz="2968" kern="12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7" name="CuadroTexto 16">
              <a:extLst>
                <a:ext uri="{FF2B5EF4-FFF2-40B4-BE49-F238E27FC236}">
                  <a16:creationId xmlns:a16="http://schemas.microsoft.com/office/drawing/2014/main" id="{753AA0D9-2932-EDA7-4C60-B835E57A8C61}"/>
                </a:ext>
              </a:extLst>
            </p:cNvPr>
            <p:cNvSpPr txBox="1"/>
            <p:nvPr/>
          </p:nvSpPr>
          <p:spPr>
            <a:xfrm>
              <a:off x="3382808" y="1319490"/>
              <a:ext cx="693890" cy="777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367918" rtl="0"/>
              <a:r>
                <a:rPr lang="es-ES" sz="5277" b="1" kern="1200">
                  <a:solidFill>
                    <a:srgbClr val="F2F4FF"/>
                  </a:solidFill>
                  <a:latin typeface="Telefonica Sans" panose="02000003020000060003" pitchFamily="50" charset="0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19" name="Grupo 18">
            <a:extLst>
              <a:ext uri="{FF2B5EF4-FFF2-40B4-BE49-F238E27FC236}">
                <a16:creationId xmlns:a16="http://schemas.microsoft.com/office/drawing/2014/main" id="{0623AAC6-A280-4838-3C02-AA2367744050}"/>
              </a:ext>
            </a:extLst>
          </p:cNvPr>
          <p:cNvGrpSpPr/>
          <p:nvPr/>
        </p:nvGrpSpPr>
        <p:grpSpPr>
          <a:xfrm>
            <a:off x="5227510" y="2212073"/>
            <a:ext cx="1184683" cy="1108649"/>
            <a:chOff x="3226363" y="1200820"/>
            <a:chExt cx="1006779" cy="1006779"/>
          </a:xfrm>
        </p:grpSpPr>
        <p:sp>
          <p:nvSpPr>
            <p:cNvPr id="20" name="Elipse 19">
              <a:extLst>
                <a:ext uri="{FF2B5EF4-FFF2-40B4-BE49-F238E27FC236}">
                  <a16:creationId xmlns:a16="http://schemas.microsoft.com/office/drawing/2014/main" id="{784504A3-C99A-BBC0-B3DD-7AA9E75F4059}"/>
                </a:ext>
              </a:extLst>
            </p:cNvPr>
            <p:cNvSpPr/>
            <p:nvPr/>
          </p:nvSpPr>
          <p:spPr>
            <a:xfrm>
              <a:off x="3226363" y="1200820"/>
              <a:ext cx="1006779" cy="1006779"/>
            </a:xfrm>
            <a:prstGeom prst="ellipse">
              <a:avLst/>
            </a:prstGeom>
            <a:solidFill>
              <a:srgbClr val="0066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67918" rtl="0"/>
              <a:endParaRPr lang="es-ES" sz="2968" kern="12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1" name="CuadroTexto 20">
              <a:extLst>
                <a:ext uri="{FF2B5EF4-FFF2-40B4-BE49-F238E27FC236}">
                  <a16:creationId xmlns:a16="http://schemas.microsoft.com/office/drawing/2014/main" id="{B537D4FE-389E-2024-AFD0-8E1E10CAEAEC}"/>
                </a:ext>
              </a:extLst>
            </p:cNvPr>
            <p:cNvSpPr txBox="1"/>
            <p:nvPr/>
          </p:nvSpPr>
          <p:spPr>
            <a:xfrm>
              <a:off x="3382808" y="1319490"/>
              <a:ext cx="693890" cy="777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367918" rtl="0"/>
              <a:r>
                <a:rPr lang="es-ES_tradnl" sz="5277" b="1" kern="1200">
                  <a:solidFill>
                    <a:srgbClr val="F2F4FF"/>
                  </a:solidFill>
                  <a:latin typeface="Telefonica Sans" panose="02000003020000060003" pitchFamily="50" charset="0"/>
                  <a:ea typeface="+mn-ea"/>
                  <a:cs typeface="+mn-cs"/>
                </a:rPr>
                <a:t>2</a:t>
              </a:r>
              <a:endParaRPr lang="es-ES" sz="5277" b="1" kern="1200">
                <a:solidFill>
                  <a:srgbClr val="F2F4FF"/>
                </a:solidFill>
                <a:latin typeface="Telefonica Sans" panose="02000003020000060003" pitchFamily="50" charset="0"/>
                <a:ea typeface="+mn-ea"/>
                <a:cs typeface="+mn-cs"/>
              </a:endParaRPr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5468C507-5E5A-ABCC-F116-B49D5933F79D}"/>
              </a:ext>
            </a:extLst>
          </p:cNvPr>
          <p:cNvGrpSpPr/>
          <p:nvPr/>
        </p:nvGrpSpPr>
        <p:grpSpPr>
          <a:xfrm>
            <a:off x="9426971" y="2212073"/>
            <a:ext cx="1184683" cy="1108649"/>
            <a:chOff x="3226363" y="1200820"/>
            <a:chExt cx="1006779" cy="1006779"/>
          </a:xfrm>
        </p:grpSpPr>
        <p:sp>
          <p:nvSpPr>
            <p:cNvPr id="23" name="Elipse 22">
              <a:extLst>
                <a:ext uri="{FF2B5EF4-FFF2-40B4-BE49-F238E27FC236}">
                  <a16:creationId xmlns:a16="http://schemas.microsoft.com/office/drawing/2014/main" id="{31BB8D80-DD7C-6572-8771-20C53E3970E5}"/>
                </a:ext>
              </a:extLst>
            </p:cNvPr>
            <p:cNvSpPr/>
            <p:nvPr/>
          </p:nvSpPr>
          <p:spPr>
            <a:xfrm>
              <a:off x="3226363" y="1200820"/>
              <a:ext cx="1006779" cy="1006779"/>
            </a:xfrm>
            <a:prstGeom prst="ellipse">
              <a:avLst/>
            </a:prstGeom>
            <a:solidFill>
              <a:srgbClr val="0066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67918" rtl="0"/>
              <a:endParaRPr lang="es-ES" sz="2968" kern="12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4" name="CuadroTexto 23">
              <a:extLst>
                <a:ext uri="{FF2B5EF4-FFF2-40B4-BE49-F238E27FC236}">
                  <a16:creationId xmlns:a16="http://schemas.microsoft.com/office/drawing/2014/main" id="{3DA78188-F10F-E97B-01A9-5B3359BBBA0D}"/>
                </a:ext>
              </a:extLst>
            </p:cNvPr>
            <p:cNvSpPr txBox="1"/>
            <p:nvPr/>
          </p:nvSpPr>
          <p:spPr>
            <a:xfrm>
              <a:off x="3382808" y="1319490"/>
              <a:ext cx="693890" cy="777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367918" rtl="0"/>
              <a:r>
                <a:rPr lang="es-ES" sz="5277" b="1" kern="1200">
                  <a:solidFill>
                    <a:srgbClr val="F2F4FF"/>
                  </a:solidFill>
                  <a:latin typeface="Telefonica Sans" panose="02000003020000060003" pitchFamily="50" charset="0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25" name="Grupo 24">
            <a:extLst>
              <a:ext uri="{FF2B5EF4-FFF2-40B4-BE49-F238E27FC236}">
                <a16:creationId xmlns:a16="http://schemas.microsoft.com/office/drawing/2014/main" id="{C22DF947-2130-FFB3-1BEA-E801E7A59475}"/>
              </a:ext>
            </a:extLst>
          </p:cNvPr>
          <p:cNvGrpSpPr/>
          <p:nvPr/>
        </p:nvGrpSpPr>
        <p:grpSpPr>
          <a:xfrm>
            <a:off x="13626432" y="2212073"/>
            <a:ext cx="1184683" cy="1108649"/>
            <a:chOff x="3226363" y="1200820"/>
            <a:chExt cx="1006779" cy="1006779"/>
          </a:xfrm>
        </p:grpSpPr>
        <p:sp>
          <p:nvSpPr>
            <p:cNvPr id="26" name="Elipse 25">
              <a:extLst>
                <a:ext uri="{FF2B5EF4-FFF2-40B4-BE49-F238E27FC236}">
                  <a16:creationId xmlns:a16="http://schemas.microsoft.com/office/drawing/2014/main" id="{C6611308-1800-30A7-F4C0-557C9D52365D}"/>
                </a:ext>
              </a:extLst>
            </p:cNvPr>
            <p:cNvSpPr/>
            <p:nvPr/>
          </p:nvSpPr>
          <p:spPr>
            <a:xfrm>
              <a:off x="3226363" y="1200820"/>
              <a:ext cx="1006779" cy="1006779"/>
            </a:xfrm>
            <a:prstGeom prst="ellipse">
              <a:avLst/>
            </a:prstGeom>
            <a:solidFill>
              <a:srgbClr val="0066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67918" rtl="0"/>
              <a:endParaRPr lang="es-ES" sz="2968" kern="12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C8497A71-336C-25BF-9586-79C9EFCD7295}"/>
                </a:ext>
              </a:extLst>
            </p:cNvPr>
            <p:cNvSpPr txBox="1"/>
            <p:nvPr/>
          </p:nvSpPr>
          <p:spPr>
            <a:xfrm>
              <a:off x="3382808" y="1319490"/>
              <a:ext cx="693890" cy="777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367918" rtl="0"/>
              <a:r>
                <a:rPr lang="es-ES_tradnl" sz="5277" b="1" kern="1200">
                  <a:solidFill>
                    <a:srgbClr val="F2F4FF"/>
                  </a:solidFill>
                  <a:latin typeface="Telefonica Sans" panose="02000003020000060003" pitchFamily="50" charset="0"/>
                  <a:ea typeface="+mn-ea"/>
                  <a:cs typeface="+mn-cs"/>
                </a:rPr>
                <a:t>4</a:t>
              </a:r>
              <a:endParaRPr lang="es-ES" sz="5277" b="1" kern="1200">
                <a:solidFill>
                  <a:srgbClr val="F2F4FF"/>
                </a:solidFill>
                <a:latin typeface="Telefonica Sans" panose="02000003020000060003" pitchFamily="50" charset="0"/>
                <a:ea typeface="+mn-ea"/>
                <a:cs typeface="+mn-cs"/>
              </a:endParaRPr>
            </a:p>
          </p:txBody>
        </p:sp>
      </p:grpSp>
      <p:sp>
        <p:nvSpPr>
          <p:cNvPr id="28" name="Elipse 27">
            <a:extLst>
              <a:ext uri="{FF2B5EF4-FFF2-40B4-BE49-F238E27FC236}">
                <a16:creationId xmlns:a16="http://schemas.microsoft.com/office/drawing/2014/main" id="{E49C1251-29D9-42C6-05FE-967B5235A38B}"/>
              </a:ext>
            </a:extLst>
          </p:cNvPr>
          <p:cNvSpPr/>
          <p:nvPr/>
        </p:nvSpPr>
        <p:spPr>
          <a:xfrm>
            <a:off x="16936054" y="2740451"/>
            <a:ext cx="2929910" cy="2765002"/>
          </a:xfrm>
          <a:prstGeom prst="ellipse">
            <a:avLst/>
          </a:prstGeom>
          <a:solidFill>
            <a:srgbClr val="579BF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/>
          <a:lstStyle/>
          <a:p>
            <a:endParaRPr lang="es-ES"/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id="{44ADEDC8-0503-7D4A-36E0-C86A92F02DAA}"/>
              </a:ext>
            </a:extLst>
          </p:cNvPr>
          <p:cNvSpPr/>
          <p:nvPr/>
        </p:nvSpPr>
        <p:spPr>
          <a:xfrm>
            <a:off x="15825596" y="3546036"/>
            <a:ext cx="1006940" cy="951104"/>
          </a:xfrm>
          <a:prstGeom prst="ellipse">
            <a:avLst/>
          </a:prstGeom>
          <a:solidFill>
            <a:srgbClr val="579BF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/>
          <a:lstStyle/>
          <a:p>
            <a:endParaRPr lang="es-ES"/>
          </a:p>
        </p:txBody>
      </p:sp>
      <p:sp>
        <p:nvSpPr>
          <p:cNvPr id="30" name="object 2">
            <a:extLst>
              <a:ext uri="{FF2B5EF4-FFF2-40B4-BE49-F238E27FC236}">
                <a16:creationId xmlns:a16="http://schemas.microsoft.com/office/drawing/2014/main" id="{A9D14D76-CFD2-2FA4-F5F5-B4C6B0313B79}"/>
              </a:ext>
            </a:extLst>
          </p:cNvPr>
          <p:cNvSpPr txBox="1"/>
          <p:nvPr/>
        </p:nvSpPr>
        <p:spPr>
          <a:xfrm>
            <a:off x="17139018" y="3505087"/>
            <a:ext cx="2558431" cy="1748223"/>
          </a:xfrm>
          <a:prstGeom prst="rect">
            <a:avLst/>
          </a:prstGeom>
        </p:spPr>
        <p:txBody>
          <a:bodyPr vert="horz" wrap="square" lIns="0" tIns="18848" rIns="0" bIns="0" rtlCol="0">
            <a:spAutoFit/>
          </a:bodyPr>
          <a:lstStyle/>
          <a:p>
            <a:pPr marL="20942" algn="ctr" defTabSz="1507846" rtl="0"/>
            <a:r>
              <a:rPr lang="es-ES" sz="2309" b="1" kern="1200">
                <a:solidFill>
                  <a:srgbClr val="FFFFFF"/>
                </a:solidFill>
                <a:latin typeface="Telefonica Sans" panose="02000003020000060003" pitchFamily="50" charset="0"/>
                <a:ea typeface="+mn-ea"/>
                <a:cs typeface="+mn-cs"/>
              </a:rPr>
              <a:t>Dar conformidad al mantenimiento </a:t>
            </a:r>
            <a:r>
              <a:rPr lang="es-ES" sz="2309" kern="1200">
                <a:solidFill>
                  <a:srgbClr val="FFFFFF"/>
                </a:solidFill>
                <a:latin typeface="Telefonica Sans" panose="02000003020000060003" pitchFamily="50" charset="0"/>
                <a:ea typeface="+mn-ea"/>
                <a:cs typeface="+mn-cs"/>
              </a:rPr>
              <a:t>de la solución </a:t>
            </a:r>
            <a:r>
              <a:rPr lang="es-ES" sz="2000" kern="1200">
                <a:solidFill>
                  <a:srgbClr val="FFFFFF"/>
                </a:solidFill>
                <a:latin typeface="Telefonica Sans" panose="02000003020000060003" pitchFamily="50" charset="0"/>
                <a:ea typeface="+mn-ea"/>
                <a:cs typeface="+mn-cs"/>
              </a:rPr>
              <a:t>(Justificación fase II)</a:t>
            </a:r>
          </a:p>
          <a:p>
            <a:pPr marL="20942" algn="ctr" defTabSz="1507846" rtl="0"/>
            <a:endParaRPr lang="es-ES" sz="2309" kern="1200" spc="-231">
              <a:solidFill>
                <a:srgbClr val="FFFFFF"/>
              </a:solidFill>
              <a:latin typeface="Telefonica Sans Medium"/>
              <a:ea typeface="+mn-ea"/>
              <a:cs typeface="Telefonica Sans Medium"/>
            </a:endParaRPr>
          </a:p>
        </p:txBody>
      </p:sp>
      <p:grpSp>
        <p:nvGrpSpPr>
          <p:cNvPr id="31" name="Grupo 30">
            <a:extLst>
              <a:ext uri="{FF2B5EF4-FFF2-40B4-BE49-F238E27FC236}">
                <a16:creationId xmlns:a16="http://schemas.microsoft.com/office/drawing/2014/main" id="{AD9AE01E-FEE1-EC8D-6352-1E7A324FFA30}"/>
              </a:ext>
            </a:extLst>
          </p:cNvPr>
          <p:cNvGrpSpPr/>
          <p:nvPr/>
        </p:nvGrpSpPr>
        <p:grpSpPr>
          <a:xfrm>
            <a:off x="17825893" y="2212073"/>
            <a:ext cx="1184683" cy="1108649"/>
            <a:chOff x="3226363" y="1200820"/>
            <a:chExt cx="1006779" cy="1006779"/>
          </a:xfrm>
        </p:grpSpPr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16349000-C42A-FAC0-1A89-8805680DF1B7}"/>
                </a:ext>
              </a:extLst>
            </p:cNvPr>
            <p:cNvSpPr/>
            <p:nvPr/>
          </p:nvSpPr>
          <p:spPr>
            <a:xfrm>
              <a:off x="3226363" y="1200820"/>
              <a:ext cx="1006779" cy="1006779"/>
            </a:xfrm>
            <a:prstGeom prst="ellipse">
              <a:avLst/>
            </a:prstGeom>
            <a:solidFill>
              <a:srgbClr val="0066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67918" rtl="0"/>
              <a:endParaRPr lang="es-ES" sz="2968" kern="12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3" name="CuadroTexto 32">
              <a:extLst>
                <a:ext uri="{FF2B5EF4-FFF2-40B4-BE49-F238E27FC236}">
                  <a16:creationId xmlns:a16="http://schemas.microsoft.com/office/drawing/2014/main" id="{1E6277F0-3AFB-C0C8-58B1-065F346B2566}"/>
                </a:ext>
              </a:extLst>
            </p:cNvPr>
            <p:cNvSpPr txBox="1"/>
            <p:nvPr/>
          </p:nvSpPr>
          <p:spPr>
            <a:xfrm>
              <a:off x="3382808" y="1319490"/>
              <a:ext cx="693890" cy="8213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367918" rtl="0"/>
              <a:r>
                <a:rPr lang="es-ES_tradnl" sz="5277" b="1" kern="1200">
                  <a:solidFill>
                    <a:srgbClr val="F2F4FF"/>
                  </a:solidFill>
                  <a:latin typeface="Telefonica Sans" panose="02000003020000060003" pitchFamily="50" charset="0"/>
                  <a:ea typeface="+mn-ea"/>
                  <a:cs typeface="+mn-cs"/>
                </a:rPr>
                <a:t>5</a:t>
              </a:r>
              <a:endParaRPr lang="es-ES" sz="5277" b="1" kern="1200">
                <a:solidFill>
                  <a:srgbClr val="F2F4FF"/>
                </a:solidFill>
                <a:latin typeface="Telefonica Sans" panose="02000003020000060003" pitchFamily="50" charset="0"/>
                <a:ea typeface="+mn-ea"/>
                <a:cs typeface="+mn-cs"/>
              </a:endParaRPr>
            </a:p>
          </p:txBody>
        </p:sp>
      </p:grpSp>
      <p:grpSp>
        <p:nvGrpSpPr>
          <p:cNvPr id="36" name="Grupo 35">
            <a:extLst>
              <a:ext uri="{FF2B5EF4-FFF2-40B4-BE49-F238E27FC236}">
                <a16:creationId xmlns:a16="http://schemas.microsoft.com/office/drawing/2014/main" id="{D807CE51-7B49-C3ED-4D21-B6EC018D0948}"/>
              </a:ext>
            </a:extLst>
          </p:cNvPr>
          <p:cNvGrpSpPr/>
          <p:nvPr/>
        </p:nvGrpSpPr>
        <p:grpSpPr>
          <a:xfrm>
            <a:off x="736934" y="5896774"/>
            <a:ext cx="1698023" cy="1585767"/>
            <a:chOff x="4957958" y="2639446"/>
            <a:chExt cx="1193706" cy="1114790"/>
          </a:xfrm>
        </p:grpSpPr>
        <p:pic>
          <p:nvPicPr>
            <p:cNvPr id="37" name="Imagen 36" descr="Icono&#10;&#10;Descripción generada automáticamente">
              <a:extLst>
                <a:ext uri="{FF2B5EF4-FFF2-40B4-BE49-F238E27FC236}">
                  <a16:creationId xmlns:a16="http://schemas.microsoft.com/office/drawing/2014/main" id="{0C40C78A-E7AD-A3CE-7B0F-E9821885B1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2569" y="2910679"/>
              <a:ext cx="1024485" cy="627748"/>
            </a:xfrm>
            <a:prstGeom prst="rect">
              <a:avLst/>
            </a:prstGeom>
          </p:spPr>
        </p:pic>
        <p:sp>
          <p:nvSpPr>
            <p:cNvPr id="38" name="Elipse 37">
              <a:extLst>
                <a:ext uri="{FF2B5EF4-FFF2-40B4-BE49-F238E27FC236}">
                  <a16:creationId xmlns:a16="http://schemas.microsoft.com/office/drawing/2014/main" id="{F2CE8E26-D6FF-95E8-89E1-5FFEC4F86FE4}"/>
                </a:ext>
              </a:extLst>
            </p:cNvPr>
            <p:cNvSpPr/>
            <p:nvPr/>
          </p:nvSpPr>
          <p:spPr>
            <a:xfrm>
              <a:off x="4957958" y="2639446"/>
              <a:ext cx="1193706" cy="1114790"/>
            </a:xfrm>
            <a:prstGeom prst="ellipse">
              <a:avLst/>
            </a:prstGeom>
            <a:noFill/>
            <a:ln w="38100">
              <a:solidFill>
                <a:srgbClr val="0066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/>
              <a:endParaRPr lang="es-ES" sz="2968" kern="1200">
                <a:solidFill>
                  <a:srgbClr val="FFFFFF"/>
                </a:solidFill>
                <a:latin typeface="Arial" panose="020B0604020202020204"/>
              </a:endParaRPr>
            </a:p>
          </p:txBody>
        </p:sp>
      </p:grpSp>
      <p:grpSp>
        <p:nvGrpSpPr>
          <p:cNvPr id="42" name="Grupo 41">
            <a:extLst>
              <a:ext uri="{FF2B5EF4-FFF2-40B4-BE49-F238E27FC236}">
                <a16:creationId xmlns:a16="http://schemas.microsoft.com/office/drawing/2014/main" id="{27638B4D-F60C-AC59-7786-94C2D72F5751}"/>
              </a:ext>
            </a:extLst>
          </p:cNvPr>
          <p:cNvGrpSpPr/>
          <p:nvPr/>
        </p:nvGrpSpPr>
        <p:grpSpPr>
          <a:xfrm>
            <a:off x="4813952" y="10364913"/>
            <a:ext cx="2726113" cy="496803"/>
            <a:chOff x="-890739" y="2223414"/>
            <a:chExt cx="4216395" cy="652506"/>
          </a:xfrm>
        </p:grpSpPr>
        <p:pic>
          <p:nvPicPr>
            <p:cNvPr id="43" name="Imagen 42">
              <a:hlinkClick r:id="rId4"/>
              <a:extLst>
                <a:ext uri="{FF2B5EF4-FFF2-40B4-BE49-F238E27FC236}">
                  <a16:creationId xmlns:a16="http://schemas.microsoft.com/office/drawing/2014/main" id="{A252AC41-16B9-F9E8-3FB0-E805EE8E6E7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989" y="2223414"/>
              <a:ext cx="2712156" cy="365098"/>
            </a:xfrm>
            <a:prstGeom prst="rect">
              <a:avLst/>
            </a:prstGeom>
          </p:spPr>
        </p:pic>
        <p:sp>
          <p:nvSpPr>
            <p:cNvPr id="44" name="CuadroTexto 43">
              <a:extLst>
                <a:ext uri="{FF2B5EF4-FFF2-40B4-BE49-F238E27FC236}">
                  <a16:creationId xmlns:a16="http://schemas.microsoft.com/office/drawing/2014/main" id="{C6CBD734-6EDE-57ED-3491-FCE1C51B158D}"/>
                </a:ext>
              </a:extLst>
            </p:cNvPr>
            <p:cNvSpPr txBox="1"/>
            <p:nvPr/>
          </p:nvSpPr>
          <p:spPr>
            <a:xfrm>
              <a:off x="-890739" y="2588513"/>
              <a:ext cx="4216395" cy="2874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1507846" rtl="0"/>
              <a:r>
                <a:rPr lang="es-ES" sz="1000" kern="1200">
                  <a:solidFill>
                    <a:srgbClr val="586179"/>
                  </a:solidFill>
                  <a:latin typeface="Arial" panose="020B0604020202020204"/>
                  <a:ea typeface="+mn-ea"/>
                  <a:cs typeface="+mn-cs"/>
                  <a:hlinkClick r:id="rId6"/>
                </a:rPr>
                <a:t>https://portal.gestion.sedepkd.red.gob.es</a:t>
              </a:r>
              <a:r>
                <a:rPr lang="es-ES" sz="1000" kern="1200">
                  <a:solidFill>
                    <a:srgbClr val="586179"/>
                  </a:solidFill>
                  <a:latin typeface="Arial" panose="020B0604020202020204"/>
                  <a:ea typeface="+mn-ea"/>
                  <a:cs typeface="+mn-cs"/>
                </a:rPr>
                <a:t> </a:t>
              </a:r>
            </a:p>
          </p:txBody>
        </p:sp>
      </p:grpSp>
      <p:grpSp>
        <p:nvGrpSpPr>
          <p:cNvPr id="54" name="Grupo 53">
            <a:extLst>
              <a:ext uri="{FF2B5EF4-FFF2-40B4-BE49-F238E27FC236}">
                <a16:creationId xmlns:a16="http://schemas.microsoft.com/office/drawing/2014/main" id="{079E1B0B-1321-9A41-7BC4-FE5D55B9DF29}"/>
              </a:ext>
            </a:extLst>
          </p:cNvPr>
          <p:cNvGrpSpPr/>
          <p:nvPr/>
        </p:nvGrpSpPr>
        <p:grpSpPr>
          <a:xfrm>
            <a:off x="3885515" y="5579215"/>
            <a:ext cx="3927667" cy="4758401"/>
            <a:chOff x="4046959" y="5579215"/>
            <a:chExt cx="3927667" cy="4758401"/>
          </a:xfrm>
        </p:grpSpPr>
        <p:sp>
          <p:nvSpPr>
            <p:cNvPr id="39" name="Rectángulo: esquinas redondeadas 38">
              <a:extLst>
                <a:ext uri="{FF2B5EF4-FFF2-40B4-BE49-F238E27FC236}">
                  <a16:creationId xmlns:a16="http://schemas.microsoft.com/office/drawing/2014/main" id="{6917C2D9-AF92-3024-7815-A73357EF6303}"/>
                </a:ext>
              </a:extLst>
            </p:cNvPr>
            <p:cNvSpPr/>
            <p:nvPr/>
          </p:nvSpPr>
          <p:spPr>
            <a:xfrm>
              <a:off x="4046959" y="5579215"/>
              <a:ext cx="3927667" cy="3701072"/>
            </a:xfrm>
            <a:prstGeom prst="roundRect">
              <a:avLst/>
            </a:prstGeom>
            <a:solidFill>
              <a:srgbClr val="D0D6E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/>
              <a:endParaRPr lang="es-ES" sz="2968" kern="1200">
                <a:solidFill>
                  <a:srgbClr val="FFFFFF"/>
                </a:solidFill>
                <a:latin typeface="Telefonica Sans" panose="02000003020000060003" pitchFamily="50" charset="0"/>
              </a:endParaRPr>
            </a:p>
          </p:txBody>
        </p:sp>
        <p:sp>
          <p:nvSpPr>
            <p:cNvPr id="40" name="CuadroTexto 39">
              <a:extLst>
                <a:ext uri="{FF2B5EF4-FFF2-40B4-BE49-F238E27FC236}">
                  <a16:creationId xmlns:a16="http://schemas.microsoft.com/office/drawing/2014/main" id="{19C7028A-E1F9-E94E-6710-96C175819B32}"/>
                </a:ext>
              </a:extLst>
            </p:cNvPr>
            <p:cNvSpPr txBox="1"/>
            <p:nvPr/>
          </p:nvSpPr>
          <p:spPr>
            <a:xfrm>
              <a:off x="4324757" y="6258790"/>
              <a:ext cx="3306839" cy="27112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1507846" rtl="0"/>
              <a:r>
                <a:rPr lang="es-ES" sz="2400" kern="1200">
                  <a:solidFill>
                    <a:srgbClr val="586179"/>
                  </a:solidFill>
                  <a:latin typeface="Telefonica Sans" panose="02000003020000060003" pitchFamily="50" charset="0"/>
                </a:rPr>
                <a:t>Al firmar en</a:t>
              </a:r>
            </a:p>
            <a:p>
              <a:pPr algn="r" defTabSz="1507846" rtl="0"/>
              <a:r>
                <a:rPr lang="es-ES" sz="2400" kern="1200">
                  <a:solidFill>
                    <a:srgbClr val="586179"/>
                  </a:solidFill>
                  <a:latin typeface="Telefonica Sans" panose="02000003020000060003" pitchFamily="50" charset="0"/>
                </a:rPr>
                <a:t> </a:t>
              </a:r>
            </a:p>
            <a:p>
              <a:pPr algn="r" defTabSz="1507846" rtl="0"/>
              <a:r>
                <a:rPr lang="es-ES" sz="2400" kern="1200">
                  <a:solidFill>
                    <a:srgbClr val="586179"/>
                  </a:solidFill>
                  <a:latin typeface="Telefonica Sans" panose="02000003020000060003" pitchFamily="50" charset="0"/>
                </a:rPr>
                <a:t>el cliente se compromete a los puntos </a:t>
              </a:r>
              <a:r>
                <a:rPr lang="es-ES" sz="2800" kern="1200">
                  <a:solidFill>
                    <a:srgbClr val="0665FF"/>
                  </a:solidFill>
                  <a:latin typeface="Telefonica Sans" panose="02000003020000060003" pitchFamily="50" charset="0"/>
                  <a:sym typeface="Wingdings" panose="05000000000000000000" pitchFamily="2" charset="2"/>
                </a:rPr>
                <a:t>, </a:t>
              </a:r>
              <a:r>
                <a:rPr lang="es-ES" sz="2800" kern="1200">
                  <a:solidFill>
                    <a:srgbClr val="586179"/>
                  </a:solidFill>
                  <a:latin typeface="Telefonica Sans" panose="02000003020000060003" pitchFamily="50" charset="0"/>
                </a:rPr>
                <a:t>y </a:t>
              </a:r>
              <a:r>
                <a:rPr lang="es-ES" sz="2800" kern="1200">
                  <a:solidFill>
                    <a:srgbClr val="0665FF"/>
                  </a:solidFill>
                  <a:latin typeface="Telefonica Sans" panose="02000003020000060003" pitchFamily="50" charset="0"/>
                  <a:sym typeface="Wingdings" panose="05000000000000000000" pitchFamily="2" charset="2"/>
                </a:rPr>
                <a:t></a:t>
              </a:r>
              <a:endParaRPr lang="es-ES" sz="2400" kern="1200">
                <a:solidFill>
                  <a:srgbClr val="586179"/>
                </a:solidFill>
                <a:latin typeface="Telefonica Sans" panose="02000003020000060003" pitchFamily="50" charset="0"/>
              </a:endParaRPr>
            </a:p>
            <a:p>
              <a:pPr algn="l" defTabSz="1507864" rtl="0">
                <a:buClr>
                  <a:srgbClr val="031A34"/>
                </a:buClr>
                <a:buSzPct val="121000"/>
                <a:defRPr/>
              </a:pPr>
              <a:endParaRPr lang="es-ES" sz="2309" kern="1200">
                <a:solidFill>
                  <a:srgbClr val="414B61"/>
                </a:solidFill>
                <a:latin typeface="Telefonica Sans" panose="02000003020000060003" pitchFamily="50" charset="0"/>
                <a:ea typeface="+mn-ea"/>
                <a:cs typeface="+mn-cs"/>
              </a:endParaRPr>
            </a:p>
            <a:p>
              <a:pPr algn="l" defTabSz="1507864" rtl="0">
                <a:buClr>
                  <a:srgbClr val="031A34"/>
                </a:buClr>
                <a:buSzPct val="121000"/>
                <a:defRPr/>
              </a:pPr>
              <a:endParaRPr lang="es-ES" sz="2309" kern="1200">
                <a:solidFill>
                  <a:srgbClr val="414B61"/>
                </a:solidFill>
                <a:latin typeface="Telefonica Sans" panose="02000003020000060003" pitchFamily="50" charset="0"/>
                <a:ea typeface="+mn-ea"/>
                <a:cs typeface="+mn-cs"/>
              </a:endParaRPr>
            </a:p>
          </p:txBody>
        </p:sp>
        <p:pic>
          <p:nvPicPr>
            <p:cNvPr id="45" name="Imagen 44">
              <a:hlinkClick r:id="rId6"/>
              <a:extLst>
                <a:ext uri="{FF2B5EF4-FFF2-40B4-BE49-F238E27FC236}">
                  <a16:creationId xmlns:a16="http://schemas.microsoft.com/office/drawing/2014/main" id="{3DB73AB9-62CB-E6FB-0520-93D2599D794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37085" y="6691260"/>
              <a:ext cx="2894511" cy="391813"/>
            </a:xfrm>
            <a:prstGeom prst="rect">
              <a:avLst/>
            </a:prstGeom>
          </p:spPr>
        </p:pic>
        <p:grpSp>
          <p:nvGrpSpPr>
            <p:cNvPr id="46" name="Grupo 45">
              <a:extLst>
                <a:ext uri="{FF2B5EF4-FFF2-40B4-BE49-F238E27FC236}">
                  <a16:creationId xmlns:a16="http://schemas.microsoft.com/office/drawing/2014/main" id="{301EBDA9-E18A-D16F-40C4-C579D0D3F028}"/>
                </a:ext>
              </a:extLst>
            </p:cNvPr>
            <p:cNvGrpSpPr/>
            <p:nvPr/>
          </p:nvGrpSpPr>
          <p:grpSpPr>
            <a:xfrm>
              <a:off x="6633719" y="9443628"/>
              <a:ext cx="974490" cy="893988"/>
              <a:chOff x="10948144" y="2174752"/>
              <a:chExt cx="717432" cy="658165"/>
            </a:xfrm>
          </p:grpSpPr>
          <p:sp>
            <p:nvSpPr>
              <p:cNvPr id="47" name="Explosión: 14 puntos 46">
                <a:extLst>
                  <a:ext uri="{FF2B5EF4-FFF2-40B4-BE49-F238E27FC236}">
                    <a16:creationId xmlns:a16="http://schemas.microsoft.com/office/drawing/2014/main" id="{11115061-0D0D-893C-E0E1-A8B218FE48E7}"/>
                  </a:ext>
                </a:extLst>
              </p:cNvPr>
              <p:cNvSpPr/>
              <p:nvPr/>
            </p:nvSpPr>
            <p:spPr>
              <a:xfrm rot="1561209">
                <a:off x="10955380" y="2174752"/>
                <a:ext cx="710196" cy="658165"/>
              </a:xfrm>
              <a:prstGeom prst="irregularSeal2">
                <a:avLst/>
              </a:prstGeom>
              <a:solidFill>
                <a:schemeClr val="bg1"/>
              </a:solidFill>
              <a:ln>
                <a:solidFill>
                  <a:srgbClr val="0665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507846" rtl="0"/>
                <a:endParaRPr lang="es-ES" sz="3331" kern="1200">
                  <a:solidFill>
                    <a:srgbClr val="0665FF"/>
                  </a:solidFill>
                  <a:latin typeface="Telefonica Sans" panose="02000003020000060003" pitchFamily="50" charset="0"/>
                </a:endParaRPr>
              </a:p>
            </p:txBody>
          </p:sp>
          <p:pic>
            <p:nvPicPr>
              <p:cNvPr id="48" name="Gráfico 47" descr="Firma contorno">
                <a:extLst>
                  <a:ext uri="{FF2B5EF4-FFF2-40B4-BE49-F238E27FC236}">
                    <a16:creationId xmlns:a16="http://schemas.microsoft.com/office/drawing/2014/main" id="{7A7DFE45-AC49-ED4A-C4A0-E14567A6E9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1085294" y="2229711"/>
                <a:ext cx="376742" cy="376742"/>
              </a:xfrm>
              <a:prstGeom prst="rect">
                <a:avLst/>
              </a:prstGeom>
            </p:spPr>
          </p:pic>
          <p:sp>
            <p:nvSpPr>
              <p:cNvPr id="49" name="CuadroTexto 48">
                <a:extLst>
                  <a:ext uri="{FF2B5EF4-FFF2-40B4-BE49-F238E27FC236}">
                    <a16:creationId xmlns:a16="http://schemas.microsoft.com/office/drawing/2014/main" id="{2340AADA-CBAA-26EE-B97C-54AA5AB423D9}"/>
                  </a:ext>
                </a:extLst>
              </p:cNvPr>
              <p:cNvSpPr txBox="1"/>
              <p:nvPr/>
            </p:nvSpPr>
            <p:spPr>
              <a:xfrm>
                <a:off x="10948144" y="2483936"/>
                <a:ext cx="579690" cy="23574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l" defTabSz="1507846" rtl="0"/>
                <a:r>
                  <a:rPr lang="es-ES" sz="1481" kern="1200">
                    <a:solidFill>
                      <a:srgbClr val="0665FF"/>
                    </a:solidFill>
                    <a:latin typeface="Telefonica Sans" panose="02000003020000060003" pitchFamily="50" charset="0"/>
                    <a:ea typeface="+mn-ea"/>
                    <a:cs typeface="+mn-cs"/>
                  </a:rPr>
                  <a:t>Cliente</a:t>
                </a:r>
              </a:p>
            </p:txBody>
          </p:sp>
        </p:grpSp>
      </p:grpSp>
      <p:sp>
        <p:nvSpPr>
          <p:cNvPr id="51" name="Rectángulo: esquinas redondeadas 50">
            <a:extLst>
              <a:ext uri="{FF2B5EF4-FFF2-40B4-BE49-F238E27FC236}">
                <a16:creationId xmlns:a16="http://schemas.microsoft.com/office/drawing/2014/main" id="{14F105B9-F7B7-10E9-CAF3-6F205536C987}"/>
              </a:ext>
            </a:extLst>
          </p:cNvPr>
          <p:cNvSpPr/>
          <p:nvPr/>
        </p:nvSpPr>
        <p:spPr>
          <a:xfrm>
            <a:off x="8158766" y="5579215"/>
            <a:ext cx="3823322" cy="3701072"/>
          </a:xfrm>
          <a:prstGeom prst="roundRect">
            <a:avLst/>
          </a:prstGeom>
          <a:solidFill>
            <a:srgbClr val="D0D6E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1507846" rtl="0"/>
            <a:r>
              <a:rPr lang="es-ES" sz="2400" kern="1200">
                <a:solidFill>
                  <a:srgbClr val="586179"/>
                </a:solidFill>
                <a:latin typeface="Telefonica Sans" panose="02000003020000060003" pitchFamily="50" charset="0"/>
              </a:rPr>
              <a:t>Plazo improrrogable de </a:t>
            </a:r>
            <a:r>
              <a:rPr lang="es-ES" sz="2800" u="sng" kern="1200">
                <a:solidFill>
                  <a:srgbClr val="586179"/>
                </a:solidFill>
                <a:latin typeface="Telefonica Sans" panose="02000003020000060003" pitchFamily="50" charset="0"/>
              </a:rPr>
              <a:t>6 meses </a:t>
            </a:r>
            <a:r>
              <a:rPr lang="es-ES" sz="2400" kern="1200">
                <a:solidFill>
                  <a:srgbClr val="586179"/>
                </a:solidFill>
                <a:latin typeface="Telefonica Sans" panose="02000003020000060003" pitchFamily="50" charset="0"/>
              </a:rPr>
              <a:t>desde la validación del acuerdo </a:t>
            </a:r>
            <a:r>
              <a:rPr lang="es-ES" sz="2800" kern="1200">
                <a:solidFill>
                  <a:srgbClr val="0665FF"/>
                </a:solidFill>
                <a:latin typeface="Telefonica Sans" panose="02000003020000060003" pitchFamily="50" charset="0"/>
                <a:sym typeface="Wingdings" panose="05000000000000000000" pitchFamily="2" charset="2"/>
              </a:rPr>
              <a:t></a:t>
            </a:r>
            <a:endParaRPr lang="es-ES" sz="2400" kern="1200">
              <a:solidFill>
                <a:srgbClr val="586179"/>
              </a:solidFill>
              <a:latin typeface="Telefonica Sans" panose="02000003020000060003" pitchFamily="50" charset="0"/>
            </a:endParaRPr>
          </a:p>
        </p:txBody>
      </p:sp>
      <p:sp>
        <p:nvSpPr>
          <p:cNvPr id="52" name="Rectángulo: esquinas redondeadas 51">
            <a:extLst>
              <a:ext uri="{FF2B5EF4-FFF2-40B4-BE49-F238E27FC236}">
                <a16:creationId xmlns:a16="http://schemas.microsoft.com/office/drawing/2014/main" id="{0253C684-490F-9B35-E5C4-01B1020591F3}"/>
              </a:ext>
            </a:extLst>
          </p:cNvPr>
          <p:cNvSpPr/>
          <p:nvPr/>
        </p:nvSpPr>
        <p:spPr>
          <a:xfrm>
            <a:off x="12233819" y="5579215"/>
            <a:ext cx="3823322" cy="3701072"/>
          </a:xfrm>
          <a:prstGeom prst="roundRect">
            <a:avLst/>
          </a:prstGeom>
          <a:solidFill>
            <a:srgbClr val="D0D6E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1507846" rtl="0"/>
            <a:r>
              <a:rPr lang="es-ES" sz="2000" kern="1200">
                <a:solidFill>
                  <a:srgbClr val="586179"/>
                </a:solidFill>
                <a:latin typeface="Telefonica Sans" panose="02000003020000060003" pitchFamily="50" charset="0"/>
              </a:rPr>
              <a:t>Si el cliente no cumple las Bases Reguladoras </a:t>
            </a:r>
            <a:r>
              <a:rPr lang="es-ES" sz="2000" b="1" kern="1200">
                <a:solidFill>
                  <a:srgbClr val="586179"/>
                </a:solidFill>
                <a:latin typeface="Telefonica Sans" panose="02000003020000060003" pitchFamily="50" charset="0"/>
              </a:rPr>
              <a:t>se pierde el derecho al cobro</a:t>
            </a:r>
            <a:r>
              <a:rPr lang="es-ES" sz="2000" kern="1200">
                <a:solidFill>
                  <a:srgbClr val="586179"/>
                </a:solidFill>
                <a:latin typeface="Telefonica Sans" panose="02000003020000060003" pitchFamily="50" charset="0"/>
              </a:rPr>
              <a:t>. </a:t>
            </a:r>
          </a:p>
          <a:p>
            <a:pPr algn="r" defTabSz="1507846" rtl="0"/>
            <a:r>
              <a:rPr lang="es-ES" sz="2000" kern="1200">
                <a:solidFill>
                  <a:srgbClr val="586179"/>
                </a:solidFill>
                <a:latin typeface="Telefonica Sans" panose="02000003020000060003" pitchFamily="50" charset="0"/>
              </a:rPr>
              <a:t>Si ya se ha pagado la primera parte, la Administración reclamará al cliente el reintegro de la parte abonada, y no abonará el resto a Telefónica, que podrá reclamárselo al cliente. </a:t>
            </a:r>
          </a:p>
        </p:txBody>
      </p:sp>
      <p:sp>
        <p:nvSpPr>
          <p:cNvPr id="53" name="Rectángulo: esquinas redondeadas 52">
            <a:extLst>
              <a:ext uri="{FF2B5EF4-FFF2-40B4-BE49-F238E27FC236}">
                <a16:creationId xmlns:a16="http://schemas.microsoft.com/office/drawing/2014/main" id="{C877CF11-2494-BF2B-0317-FC04D01E4FA7}"/>
              </a:ext>
            </a:extLst>
          </p:cNvPr>
          <p:cNvSpPr/>
          <p:nvPr/>
        </p:nvSpPr>
        <p:spPr>
          <a:xfrm>
            <a:off x="16216613" y="5579215"/>
            <a:ext cx="3823322" cy="3701072"/>
          </a:xfrm>
          <a:prstGeom prst="roundRect">
            <a:avLst/>
          </a:prstGeom>
          <a:solidFill>
            <a:srgbClr val="D0D6E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1507846" rtl="0"/>
            <a:r>
              <a:rPr lang="es-ES" sz="2400" kern="1200">
                <a:solidFill>
                  <a:srgbClr val="586179"/>
                </a:solidFill>
                <a:latin typeface="Telefonica Sans" panose="02000003020000060003" pitchFamily="50" charset="0"/>
              </a:rPr>
              <a:t>Plazo improrrogable de </a:t>
            </a:r>
            <a:r>
              <a:rPr lang="es-ES" sz="2800" u="sng" kern="1200">
                <a:solidFill>
                  <a:srgbClr val="586179"/>
                </a:solidFill>
                <a:latin typeface="Telefonica Sans" panose="02000003020000060003" pitchFamily="50" charset="0"/>
              </a:rPr>
              <a:t>3 meses</a:t>
            </a:r>
            <a:r>
              <a:rPr lang="es-ES" sz="2800" kern="1200">
                <a:solidFill>
                  <a:srgbClr val="586179"/>
                </a:solidFill>
                <a:latin typeface="Telefonica Sans" panose="02000003020000060003" pitchFamily="50" charset="0"/>
              </a:rPr>
              <a:t> </a:t>
            </a:r>
            <a:r>
              <a:rPr lang="es-ES" sz="2400" kern="1200">
                <a:solidFill>
                  <a:srgbClr val="586179"/>
                </a:solidFill>
                <a:latin typeface="Telefonica Sans" panose="02000003020000060003" pitchFamily="50" charset="0"/>
              </a:rPr>
              <a:t>desde el final de la subvención (12 meses desde la primera factura)</a:t>
            </a:r>
          </a:p>
        </p:txBody>
      </p:sp>
      <p:pic>
        <p:nvPicPr>
          <p:cNvPr id="3" name="Imagen 2">
            <a:hlinkClick r:id="rId4"/>
            <a:extLst>
              <a:ext uri="{FF2B5EF4-FFF2-40B4-BE49-F238E27FC236}">
                <a16:creationId xmlns:a16="http://schemas.microsoft.com/office/drawing/2014/main" id="{F7C8DE21-16DB-D50B-1D06-EADB4C99FA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6971" y="7897509"/>
            <a:ext cx="1865861" cy="251174"/>
          </a:xfrm>
          <a:prstGeom prst="rect">
            <a:avLst/>
          </a:prstGeom>
          <a:solidFill>
            <a:schemeClr val="bg1"/>
          </a:solidFill>
        </p:spPr>
      </p:pic>
      <p:grpSp>
        <p:nvGrpSpPr>
          <p:cNvPr id="60" name="Grupo 59">
            <a:extLst>
              <a:ext uri="{FF2B5EF4-FFF2-40B4-BE49-F238E27FC236}">
                <a16:creationId xmlns:a16="http://schemas.microsoft.com/office/drawing/2014/main" id="{D40E3766-E0FB-C04E-2D39-E9DD13266D8B}"/>
              </a:ext>
            </a:extLst>
          </p:cNvPr>
          <p:cNvGrpSpPr/>
          <p:nvPr/>
        </p:nvGrpSpPr>
        <p:grpSpPr>
          <a:xfrm>
            <a:off x="10196902" y="9394936"/>
            <a:ext cx="1608528" cy="1285676"/>
            <a:chOff x="464689" y="3171984"/>
            <a:chExt cx="1608528" cy="1285676"/>
          </a:xfrm>
        </p:grpSpPr>
        <p:grpSp>
          <p:nvGrpSpPr>
            <p:cNvPr id="61" name="Grupo 60">
              <a:extLst>
                <a:ext uri="{FF2B5EF4-FFF2-40B4-BE49-F238E27FC236}">
                  <a16:creationId xmlns:a16="http://schemas.microsoft.com/office/drawing/2014/main" id="{F0EC022C-64B8-F643-18A1-905169FC3B80}"/>
                </a:ext>
              </a:extLst>
            </p:cNvPr>
            <p:cNvGrpSpPr/>
            <p:nvPr/>
          </p:nvGrpSpPr>
          <p:grpSpPr>
            <a:xfrm>
              <a:off x="809432" y="3171984"/>
              <a:ext cx="970963" cy="893988"/>
              <a:chOff x="10823271" y="1282132"/>
              <a:chExt cx="714835" cy="658165"/>
            </a:xfrm>
          </p:grpSpPr>
          <p:sp>
            <p:nvSpPr>
              <p:cNvPr id="67" name="Explosión: 14 puntos 66">
                <a:extLst>
                  <a:ext uri="{FF2B5EF4-FFF2-40B4-BE49-F238E27FC236}">
                    <a16:creationId xmlns:a16="http://schemas.microsoft.com/office/drawing/2014/main" id="{F9C29E6A-53A0-8349-177F-CF1629B8BA28}"/>
                  </a:ext>
                </a:extLst>
              </p:cNvPr>
              <p:cNvSpPr/>
              <p:nvPr/>
            </p:nvSpPr>
            <p:spPr>
              <a:xfrm rot="1561209">
                <a:off x="10827910" y="1282132"/>
                <a:ext cx="710196" cy="658165"/>
              </a:xfrm>
              <a:prstGeom prst="irregularSeal2">
                <a:avLst/>
              </a:prstGeom>
              <a:solidFill>
                <a:schemeClr val="bg1"/>
              </a:solidFill>
              <a:ln>
                <a:solidFill>
                  <a:srgbClr val="0665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507846" rtl="0"/>
                <a:endParaRPr lang="es-ES" sz="3331" kern="1200">
                  <a:solidFill>
                    <a:srgbClr val="0665FF"/>
                  </a:solidFill>
                  <a:latin typeface="Arial" panose="020B0604020202020204"/>
                </a:endParaRPr>
              </a:p>
            </p:txBody>
          </p:sp>
          <p:pic>
            <p:nvPicPr>
              <p:cNvPr id="68" name="Gráfico 67" descr="Firma contorno">
                <a:extLst>
                  <a:ext uri="{FF2B5EF4-FFF2-40B4-BE49-F238E27FC236}">
                    <a16:creationId xmlns:a16="http://schemas.microsoft.com/office/drawing/2014/main" id="{3F69AA42-C813-BFB2-4A2E-A22984C651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0920615" y="1292814"/>
                <a:ext cx="376742" cy="376742"/>
              </a:xfrm>
              <a:prstGeom prst="rect">
                <a:avLst/>
              </a:prstGeom>
            </p:spPr>
          </p:pic>
          <p:sp>
            <p:nvSpPr>
              <p:cNvPr id="69" name="CuadroTexto 68">
                <a:extLst>
                  <a:ext uri="{FF2B5EF4-FFF2-40B4-BE49-F238E27FC236}">
                    <a16:creationId xmlns:a16="http://schemas.microsoft.com/office/drawing/2014/main" id="{808CD865-7590-E98E-4412-ACF83E7318C5}"/>
                  </a:ext>
                </a:extLst>
              </p:cNvPr>
              <p:cNvSpPr txBox="1"/>
              <p:nvPr/>
            </p:nvSpPr>
            <p:spPr>
              <a:xfrm>
                <a:off x="10823271" y="1564431"/>
                <a:ext cx="571430" cy="23574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algn="l" defTabSz="1507846" rtl="0"/>
                <a:r>
                  <a:rPr lang="es-ES" sz="1481" kern="1200">
                    <a:solidFill>
                      <a:srgbClr val="0665FF"/>
                    </a:solidFill>
                    <a:latin typeface="Arial" panose="020B0604020202020204"/>
                    <a:ea typeface="+mn-ea"/>
                    <a:cs typeface="+mn-cs"/>
                  </a:rPr>
                  <a:t>Cliente</a:t>
                </a:r>
              </a:p>
            </p:txBody>
          </p:sp>
        </p:grpSp>
        <p:grpSp>
          <p:nvGrpSpPr>
            <p:cNvPr id="62" name="Grupo 61">
              <a:extLst>
                <a:ext uri="{FF2B5EF4-FFF2-40B4-BE49-F238E27FC236}">
                  <a16:creationId xmlns:a16="http://schemas.microsoft.com/office/drawing/2014/main" id="{9AD03374-E8E5-8F62-B97F-3FF931A337D8}"/>
                </a:ext>
              </a:extLst>
            </p:cNvPr>
            <p:cNvGrpSpPr/>
            <p:nvPr/>
          </p:nvGrpSpPr>
          <p:grpSpPr>
            <a:xfrm>
              <a:off x="464689" y="3960857"/>
              <a:ext cx="1608528" cy="496803"/>
              <a:chOff x="1273756" y="2850490"/>
              <a:chExt cx="1018666" cy="302275"/>
            </a:xfrm>
          </p:grpSpPr>
          <p:grpSp>
            <p:nvGrpSpPr>
              <p:cNvPr id="63" name="Grupo 62">
                <a:extLst>
                  <a:ext uri="{FF2B5EF4-FFF2-40B4-BE49-F238E27FC236}">
                    <a16:creationId xmlns:a16="http://schemas.microsoft.com/office/drawing/2014/main" id="{3C9ED29A-9522-2A01-48E5-7B1B6E266EAD}"/>
                  </a:ext>
                </a:extLst>
              </p:cNvPr>
              <p:cNvGrpSpPr/>
              <p:nvPr/>
            </p:nvGrpSpPr>
            <p:grpSpPr>
              <a:xfrm>
                <a:off x="1273756" y="2934892"/>
                <a:ext cx="237067" cy="170122"/>
                <a:chOff x="7687733" y="2907337"/>
                <a:chExt cx="465668" cy="321654"/>
              </a:xfrm>
            </p:grpSpPr>
            <p:pic>
              <p:nvPicPr>
                <p:cNvPr id="65" name="Gráfico 64" descr="Reproducir con relleno sólido">
                  <a:extLst>
                    <a:ext uri="{FF2B5EF4-FFF2-40B4-BE49-F238E27FC236}">
                      <a16:creationId xmlns:a16="http://schemas.microsoft.com/office/drawing/2014/main" id="{17BA7941-2279-C475-6253-37B5C92058E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789418" y="2930112"/>
                  <a:ext cx="276104" cy="276104"/>
                </a:xfrm>
                <a:prstGeom prst="rect">
                  <a:avLst/>
                </a:prstGeom>
              </p:spPr>
            </p:pic>
            <p:sp>
              <p:nvSpPr>
                <p:cNvPr id="66" name="Rectángulo 65">
                  <a:extLst>
                    <a:ext uri="{FF2B5EF4-FFF2-40B4-BE49-F238E27FC236}">
                      <a16:creationId xmlns:a16="http://schemas.microsoft.com/office/drawing/2014/main" id="{294F7BBD-EEF1-538D-9C30-592246D51221}"/>
                    </a:ext>
                  </a:extLst>
                </p:cNvPr>
                <p:cNvSpPr/>
                <p:nvPr/>
              </p:nvSpPr>
              <p:spPr>
                <a:xfrm>
                  <a:off x="7687733" y="2907337"/>
                  <a:ext cx="465668" cy="321654"/>
                </a:xfrm>
                <a:prstGeom prst="rect">
                  <a:avLst/>
                </a:prstGeom>
                <a:noFill/>
                <a:ln w="19050">
                  <a:solidFill>
                    <a:srgbClr val="0665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507846" rtl="0"/>
                  <a:endParaRPr lang="es-ES" sz="3331" kern="120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</p:grpSp>
          <p:sp>
            <p:nvSpPr>
              <p:cNvPr id="64" name="CuadroTexto 63">
                <a:extLst>
                  <a:ext uri="{FF2B5EF4-FFF2-40B4-BE49-F238E27FC236}">
                    <a16:creationId xmlns:a16="http://schemas.microsoft.com/office/drawing/2014/main" id="{CAAA3F5F-2D7A-3DBF-6D5F-2CC8C3526F14}"/>
                  </a:ext>
                </a:extLst>
              </p:cNvPr>
              <p:cNvSpPr txBox="1"/>
              <p:nvPr/>
            </p:nvSpPr>
            <p:spPr>
              <a:xfrm>
                <a:off x="1466085" y="2850490"/>
                <a:ext cx="826337" cy="3022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l" defTabSz="1507846" rtl="0"/>
                <a:r>
                  <a:rPr lang="es-ES" sz="1314" kern="1200">
                    <a:solidFill>
                      <a:srgbClr val="586179"/>
                    </a:solidFill>
                    <a:latin typeface="Arial" panose="020B0604020202020204"/>
                    <a:ea typeface="+mn-ea"/>
                    <a:cs typeface="+mn-cs"/>
                    <a:hlinkClick r:id="rId11"/>
                  </a:rPr>
                  <a:t>Procedimiento de firma</a:t>
                </a:r>
                <a:endParaRPr lang="es-ES" sz="1314" kern="1200">
                  <a:solidFill>
                    <a:srgbClr val="586179"/>
                  </a:solidFill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72" name="CuadroTexto 71">
            <a:hlinkClick r:id="rId12"/>
            <a:extLst>
              <a:ext uri="{FF2B5EF4-FFF2-40B4-BE49-F238E27FC236}">
                <a16:creationId xmlns:a16="http://schemas.microsoft.com/office/drawing/2014/main" id="{285129B3-E875-B6FC-3545-9197EE329BF9}"/>
              </a:ext>
            </a:extLst>
          </p:cNvPr>
          <p:cNvSpPr txBox="1"/>
          <p:nvPr/>
        </p:nvSpPr>
        <p:spPr>
          <a:xfrm>
            <a:off x="13158805" y="10098600"/>
            <a:ext cx="4212210" cy="584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defTabSz="1507846" rtl="0"/>
            <a:r>
              <a:rPr lang="es-ES" sz="1600" kern="1200">
                <a:solidFill>
                  <a:srgbClr val="586179"/>
                </a:solidFill>
                <a:latin typeface="Arial" panose="020B0604020202020204"/>
                <a:ea typeface="+mn-ea"/>
                <a:cs typeface="+mn-cs"/>
              </a:rPr>
              <a:t>Video (3 min.) publicado por  </a:t>
            </a:r>
          </a:p>
          <a:p>
            <a:pPr algn="l" defTabSz="1507846" rtl="0"/>
            <a:r>
              <a:rPr lang="es-ES" sz="1600" kern="1200">
                <a:solidFill>
                  <a:srgbClr val="586179"/>
                </a:solidFill>
                <a:latin typeface="Arial" panose="020B0604020202020204"/>
                <a:ea typeface="+mn-ea"/>
                <a:cs typeface="+mn-cs"/>
                <a:hlinkClick r:id="rId12"/>
              </a:rPr>
              <a:t>https://youtu.be/9qeVXs4jkh4</a:t>
            </a:r>
            <a:r>
              <a:rPr lang="es-ES" sz="1600" kern="1200">
                <a:solidFill>
                  <a:srgbClr val="586179"/>
                </a:solidFill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pic>
        <p:nvPicPr>
          <p:cNvPr id="75" name="Gráfico 74">
            <a:extLst>
              <a:ext uri="{FF2B5EF4-FFF2-40B4-BE49-F238E27FC236}">
                <a16:creationId xmlns:a16="http://schemas.microsoft.com/office/drawing/2014/main" id="{A4276710-69DC-CB23-27CE-493F6FF327C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4925695" y="9743506"/>
            <a:ext cx="601852" cy="192188"/>
          </a:xfrm>
          <a:prstGeom prst="rect">
            <a:avLst/>
          </a:prstGeom>
        </p:spPr>
      </p:pic>
      <p:grpSp>
        <p:nvGrpSpPr>
          <p:cNvPr id="78" name="Grupo 77">
            <a:extLst>
              <a:ext uri="{FF2B5EF4-FFF2-40B4-BE49-F238E27FC236}">
                <a16:creationId xmlns:a16="http://schemas.microsoft.com/office/drawing/2014/main" id="{579960D7-1910-4506-4E60-A7FC3018F17D}"/>
              </a:ext>
            </a:extLst>
          </p:cNvPr>
          <p:cNvGrpSpPr/>
          <p:nvPr/>
        </p:nvGrpSpPr>
        <p:grpSpPr>
          <a:xfrm>
            <a:off x="12626050" y="10333724"/>
            <a:ext cx="374341" cy="279603"/>
            <a:chOff x="12720824" y="10274571"/>
            <a:chExt cx="374341" cy="279603"/>
          </a:xfrm>
        </p:grpSpPr>
        <p:sp>
          <p:nvSpPr>
            <p:cNvPr id="76" name="Rectángulo 75">
              <a:extLst>
                <a:ext uri="{FF2B5EF4-FFF2-40B4-BE49-F238E27FC236}">
                  <a16:creationId xmlns:a16="http://schemas.microsoft.com/office/drawing/2014/main" id="{46EF5B09-67F5-486A-213B-3CBAAC34E1C1}"/>
                </a:ext>
              </a:extLst>
            </p:cNvPr>
            <p:cNvSpPr/>
            <p:nvPr/>
          </p:nvSpPr>
          <p:spPr>
            <a:xfrm>
              <a:off x="12720824" y="10274571"/>
              <a:ext cx="374341" cy="279603"/>
            </a:xfrm>
            <a:prstGeom prst="rect">
              <a:avLst/>
            </a:prstGeom>
            <a:noFill/>
            <a:ln w="19050">
              <a:solidFill>
                <a:srgbClr val="0665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 rtl="0"/>
              <a:endParaRPr lang="es-ES" sz="3331" kern="120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77" name="Gráfico 76" descr="Reproducir con relleno sólido">
              <a:extLst>
                <a:ext uri="{FF2B5EF4-FFF2-40B4-BE49-F238E27FC236}">
                  <a16:creationId xmlns:a16="http://schemas.microsoft.com/office/drawing/2014/main" id="{93398539-8A0A-93CE-541F-5BCEDBBA3DC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2797017" y="10278364"/>
              <a:ext cx="221954" cy="240008"/>
            </a:xfrm>
            <a:prstGeom prst="rect">
              <a:avLst/>
            </a:prstGeom>
          </p:spPr>
        </p:pic>
      </p:grpSp>
      <p:pic>
        <p:nvPicPr>
          <p:cNvPr id="79" name="Imagen 78">
            <a:hlinkClick r:id="rId4"/>
            <a:extLst>
              <a:ext uri="{FF2B5EF4-FFF2-40B4-BE49-F238E27FC236}">
                <a16:creationId xmlns:a16="http://schemas.microsoft.com/office/drawing/2014/main" id="{9CF89A7C-86E2-CCBC-1A5E-23F43CA3C14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51370" y="10306623"/>
            <a:ext cx="1865861" cy="251174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80" name="Explosión: 14 puntos 79">
            <a:extLst>
              <a:ext uri="{FF2B5EF4-FFF2-40B4-BE49-F238E27FC236}">
                <a16:creationId xmlns:a16="http://schemas.microsoft.com/office/drawing/2014/main" id="{8EB9C87D-4C9E-D0FD-B208-BF125D9364FF}"/>
              </a:ext>
            </a:extLst>
          </p:cNvPr>
          <p:cNvSpPr/>
          <p:nvPr/>
        </p:nvSpPr>
        <p:spPr>
          <a:xfrm rot="1561209">
            <a:off x="18632317" y="9443627"/>
            <a:ext cx="964661" cy="893988"/>
          </a:xfrm>
          <a:prstGeom prst="irregularSeal2">
            <a:avLst/>
          </a:prstGeom>
          <a:solidFill>
            <a:schemeClr val="bg1"/>
          </a:solidFill>
          <a:ln>
            <a:solidFill>
              <a:srgbClr val="066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/>
            <a:endParaRPr lang="es-ES" sz="3331" kern="1200">
              <a:solidFill>
                <a:srgbClr val="0665FF"/>
              </a:solidFill>
              <a:latin typeface="Arial" panose="020B0604020202020204"/>
            </a:endParaRPr>
          </a:p>
        </p:txBody>
      </p:sp>
      <p:pic>
        <p:nvPicPr>
          <p:cNvPr id="81" name="Gráfico 80" descr="Firma contorno">
            <a:extLst>
              <a:ext uri="{FF2B5EF4-FFF2-40B4-BE49-F238E27FC236}">
                <a16:creationId xmlns:a16="http://schemas.microsoft.com/office/drawing/2014/main" id="{0AAF329F-4A9A-D00B-EC09-6A6709E81B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8808779" y="9518278"/>
            <a:ext cx="511730" cy="511730"/>
          </a:xfrm>
          <a:prstGeom prst="rect">
            <a:avLst/>
          </a:prstGeom>
        </p:spPr>
      </p:pic>
      <p:sp>
        <p:nvSpPr>
          <p:cNvPr id="82" name="CuadroTexto 81">
            <a:extLst>
              <a:ext uri="{FF2B5EF4-FFF2-40B4-BE49-F238E27FC236}">
                <a16:creationId xmlns:a16="http://schemas.microsoft.com/office/drawing/2014/main" id="{7507F9C3-2F5D-88A9-0276-9CD6625771FF}"/>
              </a:ext>
            </a:extLst>
          </p:cNvPr>
          <p:cNvSpPr txBox="1"/>
          <p:nvPr/>
        </p:nvSpPr>
        <p:spPr>
          <a:xfrm>
            <a:off x="18622488" y="9863593"/>
            <a:ext cx="776175" cy="32021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l" defTabSz="1507846" rtl="0"/>
            <a:r>
              <a:rPr lang="es-ES" sz="1481" kern="1200">
                <a:solidFill>
                  <a:srgbClr val="0665FF"/>
                </a:solidFill>
                <a:latin typeface="Arial" panose="020B0604020202020204"/>
                <a:ea typeface="+mn-ea"/>
                <a:cs typeface="+mn-cs"/>
              </a:rPr>
              <a:t>Cliente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13661FF1-2255-9105-A355-96EF4BEFEF86}"/>
              </a:ext>
            </a:extLst>
          </p:cNvPr>
          <p:cNvSpPr txBox="1"/>
          <p:nvPr/>
        </p:nvSpPr>
        <p:spPr>
          <a:xfrm>
            <a:off x="2676810" y="1069588"/>
            <a:ext cx="157462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kern="0"/>
            </a:defPPr>
            <a:lvl1pPr marL="0" indent="0" algn="l" defTabSz="2486323" rtl="0">
              <a:buFont typeface="Arial" panose="020B0604020202020204" pitchFamily="34" charset="0"/>
              <a:buNone/>
              <a:defRPr sz="1800" kern="1200">
                <a:solidFill>
                  <a:srgbClr val="0066FF"/>
                </a:solidFill>
                <a:latin typeface="Telefonica Sans"/>
                <a:ea typeface="+mn-ea"/>
                <a:cs typeface="+mn-cs"/>
              </a:defRPr>
            </a:lvl1pPr>
          </a:lstStyle>
          <a:p>
            <a:r>
              <a:rPr lang="es-ES"/>
              <a:t>El incumplimiento de los compromisos descritos y exigidos por Red.es en las bases reguladoras, tendrá entre otras consecuencias la baja anticipada del acuerdo, y la obligación de pago a Telefónica Empresas del importe de los costes incurridos</a:t>
            </a:r>
          </a:p>
        </p:txBody>
      </p:sp>
    </p:spTree>
    <p:extLst>
      <p:ext uri="{BB962C8B-B14F-4D97-AF65-F5344CB8AC3E}">
        <p14:creationId xmlns:p14="http://schemas.microsoft.com/office/powerpoint/2010/main" val="37959673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3">
            <a:extLst>
              <a:ext uri="{FF2B5EF4-FFF2-40B4-BE49-F238E27FC236}">
                <a16:creationId xmlns:a16="http://schemas.microsoft.com/office/drawing/2014/main" id="{778D10E5-6B02-2D1F-D0AD-D2B9280F52C7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462467" y="4511675"/>
            <a:ext cx="5019492" cy="677047"/>
          </a:xfrm>
          <a:prstGeom prst="rect">
            <a:avLst/>
          </a:prstGeom>
        </p:spPr>
      </p:pic>
      <p:sp>
        <p:nvSpPr>
          <p:cNvPr id="13" name="object 24">
            <a:extLst>
              <a:ext uri="{FF2B5EF4-FFF2-40B4-BE49-F238E27FC236}">
                <a16:creationId xmlns:a16="http://schemas.microsoft.com/office/drawing/2014/main" id="{A1E9C5C8-D2B3-A55F-15D0-D30D4A540C58}"/>
              </a:ext>
            </a:extLst>
          </p:cNvPr>
          <p:cNvSpPr txBox="1"/>
          <p:nvPr/>
        </p:nvSpPr>
        <p:spPr>
          <a:xfrm>
            <a:off x="4260850" y="10301470"/>
            <a:ext cx="12393087" cy="3493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algn="ctr">
              <a:lnSpc>
                <a:spcPct val="101800"/>
              </a:lnSpc>
              <a:spcBef>
                <a:spcPts val="95"/>
              </a:spcBef>
            </a:pP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Financiado</a:t>
            </a:r>
            <a:r>
              <a:rPr sz="1100" spc="3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por</a:t>
            </a:r>
            <a:r>
              <a:rPr sz="1100" spc="-5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la</a:t>
            </a:r>
            <a:r>
              <a:rPr sz="1100" spc="3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Unión</a:t>
            </a:r>
            <a:r>
              <a:rPr sz="1100" spc="3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Europea</a:t>
            </a:r>
            <a:r>
              <a:rPr sz="1100" spc="35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-</a:t>
            </a:r>
            <a:r>
              <a:rPr sz="1100" spc="3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NextGenerationEU.</a:t>
            </a:r>
            <a:r>
              <a:rPr sz="1100" spc="3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Sin</a:t>
            </a:r>
            <a:r>
              <a:rPr sz="1100" spc="35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embargo,</a:t>
            </a:r>
            <a:r>
              <a:rPr sz="1100" spc="3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los</a:t>
            </a:r>
            <a:r>
              <a:rPr sz="1100" spc="3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puntos</a:t>
            </a:r>
            <a:r>
              <a:rPr sz="1100" spc="3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de</a:t>
            </a:r>
            <a:r>
              <a:rPr sz="1100" spc="-5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vista</a:t>
            </a:r>
            <a:r>
              <a:rPr sz="1100" spc="-5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y</a:t>
            </a:r>
            <a:r>
              <a:rPr sz="1100" spc="-5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las</a:t>
            </a:r>
            <a:r>
              <a:rPr sz="1100" spc="3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opiniones</a:t>
            </a:r>
            <a:r>
              <a:rPr sz="1100" spc="35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expresadas</a:t>
            </a:r>
            <a:r>
              <a:rPr sz="1100" spc="3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son</a:t>
            </a:r>
            <a:r>
              <a:rPr sz="1100" spc="3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únicamente</a:t>
            </a:r>
            <a:r>
              <a:rPr sz="1100" spc="35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los</a:t>
            </a:r>
            <a:r>
              <a:rPr sz="1100" spc="3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del</a:t>
            </a:r>
            <a:r>
              <a:rPr sz="1100" spc="3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autor</a:t>
            </a:r>
            <a:r>
              <a:rPr sz="1100" spc="-5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o</a:t>
            </a:r>
            <a:r>
              <a:rPr sz="1100" spc="3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autores</a:t>
            </a:r>
            <a:r>
              <a:rPr sz="1100" spc="-5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y</a:t>
            </a:r>
            <a:r>
              <a:rPr sz="1100" spc="-5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no</a:t>
            </a:r>
            <a:r>
              <a:rPr sz="1100" spc="3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reflejan</a:t>
            </a:r>
            <a:r>
              <a:rPr sz="1100" spc="35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necesariamente</a:t>
            </a:r>
            <a:r>
              <a:rPr sz="1100" spc="3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los</a:t>
            </a:r>
            <a:r>
              <a:rPr sz="1100" spc="3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de</a:t>
            </a:r>
            <a:r>
              <a:rPr sz="1100" spc="35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la</a:t>
            </a:r>
            <a:r>
              <a:rPr sz="1100" spc="3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 spc="-10">
                <a:solidFill>
                  <a:srgbClr val="686868"/>
                </a:solidFill>
                <a:latin typeface="Telefonica Sans"/>
                <a:cs typeface="Telefonica Sans"/>
              </a:rPr>
              <a:t>Unión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Europea</a:t>
            </a:r>
            <a:r>
              <a:rPr sz="1100" spc="35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o</a:t>
            </a:r>
            <a:r>
              <a:rPr sz="1100" spc="4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la</a:t>
            </a:r>
            <a:r>
              <a:rPr sz="1100" spc="4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Comisión</a:t>
            </a:r>
            <a:r>
              <a:rPr sz="1100" spc="4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Europea.</a:t>
            </a:r>
            <a:r>
              <a:rPr sz="1100" spc="4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Ni</a:t>
            </a:r>
            <a:r>
              <a:rPr sz="1100" spc="4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la</a:t>
            </a:r>
            <a:r>
              <a:rPr sz="1100" spc="4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Unión</a:t>
            </a:r>
            <a:r>
              <a:rPr sz="1100" spc="4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Europea</a:t>
            </a:r>
            <a:r>
              <a:rPr sz="1100" spc="4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ni</a:t>
            </a:r>
            <a:r>
              <a:rPr sz="1100" spc="4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la</a:t>
            </a:r>
            <a:r>
              <a:rPr sz="1100" spc="4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Comisión</a:t>
            </a:r>
            <a:r>
              <a:rPr sz="1100" spc="4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Europea</a:t>
            </a:r>
            <a:r>
              <a:rPr sz="1100" spc="4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pueden</a:t>
            </a:r>
            <a:r>
              <a:rPr sz="1100" spc="4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ser consideradas</a:t>
            </a:r>
            <a:r>
              <a:rPr sz="1100" spc="4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responsables</a:t>
            </a:r>
            <a:r>
              <a:rPr sz="1100" spc="4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de</a:t>
            </a:r>
            <a:r>
              <a:rPr sz="1100" spc="4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las</a:t>
            </a:r>
            <a:r>
              <a:rPr sz="1100" spc="4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 spc="-10" err="1">
                <a:solidFill>
                  <a:srgbClr val="686868"/>
                </a:solidFill>
                <a:latin typeface="Telefonica Sans"/>
                <a:cs typeface="Telefonica Sans"/>
              </a:rPr>
              <a:t>mismas</a:t>
            </a:r>
            <a:r>
              <a:rPr lang="es-ES_tradnl" sz="1100" spc="-10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 err="1">
                <a:solidFill>
                  <a:srgbClr val="686868"/>
                </a:solidFill>
                <a:latin typeface="Telefonica Sans"/>
                <a:cs typeface="Telefonica Sans"/>
              </a:rPr>
              <a:t>tiene</a:t>
            </a:r>
            <a:r>
              <a:rPr sz="1100" spc="45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>
                <a:solidFill>
                  <a:srgbClr val="686868"/>
                </a:solidFill>
                <a:latin typeface="Telefonica Sans"/>
                <a:cs typeface="Telefonica Sans"/>
              </a:rPr>
              <a:t>menú</a:t>
            </a:r>
            <a:r>
              <a:rPr sz="1100" spc="45">
                <a:solidFill>
                  <a:srgbClr val="686868"/>
                </a:solidFill>
                <a:latin typeface="Telefonica Sans"/>
                <a:cs typeface="Telefonica Sans"/>
              </a:rPr>
              <a:t> </a:t>
            </a:r>
            <a:r>
              <a:rPr sz="1100" spc="-10">
                <a:solidFill>
                  <a:srgbClr val="686868"/>
                </a:solidFill>
                <a:latin typeface="Telefonica Sans"/>
                <a:cs typeface="Telefonica Sans"/>
              </a:rPr>
              <a:t>contextual</a:t>
            </a:r>
            <a:endParaRPr sz="1100">
              <a:latin typeface="Telefonica Sans"/>
              <a:cs typeface="Telefonica Sans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BEC129A9-A438-123A-EBD4-84C544D17FF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60850" y="8602982"/>
            <a:ext cx="12393087" cy="11547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07386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088CBEE-6148-4B18-82AC-4C04C17835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/>
              <a:t>ENTORNOS WEB PERSONALIZADOS </a:t>
            </a:r>
            <a:endParaRPr lang="es-ES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00E61424-6797-AF48-3BF3-6EF565B118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4322" y="1839951"/>
            <a:ext cx="3715007" cy="4998918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A87B74BB-5223-171F-2C3A-FD7632800F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5363" y="1782804"/>
            <a:ext cx="3372084" cy="5119191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24187AF9-B989-7C78-BAAF-BD6F7BF6E0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81924" y="1782804"/>
            <a:ext cx="3404565" cy="5119191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4B6831A7-2033-A426-7C18-616A53B964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550405" y="1806519"/>
            <a:ext cx="3372084" cy="5119191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8E6F137C-A997-E108-36BC-41EE3CF86A7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314645" y="1643249"/>
            <a:ext cx="3476827" cy="5268201"/>
          </a:xfrm>
          <a:prstGeom prst="rect">
            <a:avLst/>
          </a:prstGeom>
        </p:spPr>
      </p:pic>
      <p:sp>
        <p:nvSpPr>
          <p:cNvPr id="16" name="Flecha: cheurón 15">
            <a:extLst>
              <a:ext uri="{FF2B5EF4-FFF2-40B4-BE49-F238E27FC236}">
                <a16:creationId xmlns:a16="http://schemas.microsoft.com/office/drawing/2014/main" id="{EBAC33D0-1E8B-D5F6-9CC3-037704854BE3}"/>
              </a:ext>
            </a:extLst>
          </p:cNvPr>
          <p:cNvSpPr/>
          <p:nvPr/>
        </p:nvSpPr>
        <p:spPr>
          <a:xfrm>
            <a:off x="8009666" y="3785732"/>
            <a:ext cx="597301" cy="1063832"/>
          </a:xfrm>
          <a:prstGeom prst="chevron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" sz="1801" kern="1200">
              <a:solidFill>
                <a:srgbClr val="586179"/>
              </a:solidFill>
              <a:latin typeface="Arial" panose="020B0604020202020204"/>
            </a:endParaRPr>
          </a:p>
        </p:txBody>
      </p:sp>
      <p:sp>
        <p:nvSpPr>
          <p:cNvPr id="18" name="Flecha: cheurón 17">
            <a:extLst>
              <a:ext uri="{FF2B5EF4-FFF2-40B4-BE49-F238E27FC236}">
                <a16:creationId xmlns:a16="http://schemas.microsoft.com/office/drawing/2014/main" id="{D258660F-3E39-4D89-7817-8FED18F32CB9}"/>
              </a:ext>
            </a:extLst>
          </p:cNvPr>
          <p:cNvSpPr/>
          <p:nvPr/>
        </p:nvSpPr>
        <p:spPr>
          <a:xfrm>
            <a:off x="12031529" y="3768972"/>
            <a:ext cx="597301" cy="1063832"/>
          </a:xfrm>
          <a:prstGeom prst="chevron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" sz="1801" kern="1200">
              <a:solidFill>
                <a:srgbClr val="586179"/>
              </a:solidFill>
              <a:latin typeface="Arial" panose="020B0604020202020204"/>
            </a:endParaRPr>
          </a:p>
        </p:txBody>
      </p:sp>
      <p:sp>
        <p:nvSpPr>
          <p:cNvPr id="19" name="Flecha: cheurón 18">
            <a:extLst>
              <a:ext uri="{FF2B5EF4-FFF2-40B4-BE49-F238E27FC236}">
                <a16:creationId xmlns:a16="http://schemas.microsoft.com/office/drawing/2014/main" id="{2E8B4AB9-374F-0335-82D6-29588B1DCD8E}"/>
              </a:ext>
            </a:extLst>
          </p:cNvPr>
          <p:cNvSpPr/>
          <p:nvPr/>
        </p:nvSpPr>
        <p:spPr>
          <a:xfrm>
            <a:off x="15911500" y="3768972"/>
            <a:ext cx="597301" cy="1063832"/>
          </a:xfrm>
          <a:prstGeom prst="chevron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" sz="1801" kern="1200">
              <a:solidFill>
                <a:srgbClr val="586179"/>
              </a:solidFill>
              <a:latin typeface="Arial" panose="020B0604020202020204"/>
            </a:endParaRPr>
          </a:p>
        </p:txBody>
      </p:sp>
      <p:sp>
        <p:nvSpPr>
          <p:cNvPr id="20" name="Rectángulo: esquinas redondeadas 19">
            <a:extLst>
              <a:ext uri="{FF2B5EF4-FFF2-40B4-BE49-F238E27FC236}">
                <a16:creationId xmlns:a16="http://schemas.microsoft.com/office/drawing/2014/main" id="{2B163D3E-61D5-95CB-C1F3-6B48E2DD9D99}"/>
              </a:ext>
            </a:extLst>
          </p:cNvPr>
          <p:cNvSpPr/>
          <p:nvPr/>
        </p:nvSpPr>
        <p:spPr>
          <a:xfrm>
            <a:off x="836309" y="1643249"/>
            <a:ext cx="6976096" cy="5481349"/>
          </a:xfrm>
          <a:prstGeom prst="roundRect">
            <a:avLst>
              <a:gd name="adj" fmla="val 3441"/>
            </a:avLst>
          </a:prstGeom>
          <a:noFill/>
          <a:ln w="38100">
            <a:solidFill>
              <a:schemeClr val="tx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>
              <a:defRPr/>
            </a:pPr>
            <a:endParaRPr lang="es-ES" sz="900" kern="1200">
              <a:solidFill>
                <a:srgbClr val="0066FF"/>
              </a:solidFill>
              <a:latin typeface="Arial" panose="020B0604020202020204"/>
            </a:endParaRPr>
          </a:p>
        </p:txBody>
      </p:sp>
      <p:pic>
        <p:nvPicPr>
          <p:cNvPr id="32" name="Imagen 31" descr="Interfaz de usuario gráfica, Texto, Aplicación&#10;&#10;Descripción generada automáticamente">
            <a:extLst>
              <a:ext uri="{FF2B5EF4-FFF2-40B4-BE49-F238E27FC236}">
                <a16:creationId xmlns:a16="http://schemas.microsoft.com/office/drawing/2014/main" id="{4D07FC76-0216-E1BB-4D8E-0FBCAEA9AC7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366" y="7351635"/>
            <a:ext cx="1950685" cy="3812143"/>
          </a:xfrm>
          <a:prstGeom prst="rect">
            <a:avLst/>
          </a:prstGeom>
        </p:spPr>
      </p:pic>
      <p:pic>
        <p:nvPicPr>
          <p:cNvPr id="34" name="Imagen 33" descr="Interfaz de usuario gráfica, Texto, Aplicación&#10;&#10;Descripción generada automáticamente">
            <a:extLst>
              <a:ext uri="{FF2B5EF4-FFF2-40B4-BE49-F238E27FC236}">
                <a16:creationId xmlns:a16="http://schemas.microsoft.com/office/drawing/2014/main" id="{9B085AB2-04BD-9CB4-5752-47B9E2C5D8D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0022" y="7351633"/>
            <a:ext cx="1950683" cy="3826945"/>
          </a:xfrm>
          <a:prstGeom prst="rect">
            <a:avLst/>
          </a:prstGeom>
        </p:spPr>
      </p:pic>
      <p:pic>
        <p:nvPicPr>
          <p:cNvPr id="36" name="Imagen 35" descr="Diagrama&#10;&#10;Descripción generada automáticamente">
            <a:extLst>
              <a:ext uri="{FF2B5EF4-FFF2-40B4-BE49-F238E27FC236}">
                <a16:creationId xmlns:a16="http://schemas.microsoft.com/office/drawing/2014/main" id="{B48288DE-6839-C0F8-7FFF-BAFE6591D7B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6766" y="7351635"/>
            <a:ext cx="1950681" cy="3812143"/>
          </a:xfrm>
          <a:prstGeom prst="rect">
            <a:avLst/>
          </a:prstGeom>
        </p:spPr>
      </p:pic>
      <p:pic>
        <p:nvPicPr>
          <p:cNvPr id="40" name="Gráfico 39" descr="Signo de intercalación hacia la derecha con relleno sólido">
            <a:extLst>
              <a:ext uri="{FF2B5EF4-FFF2-40B4-BE49-F238E27FC236}">
                <a16:creationId xmlns:a16="http://schemas.microsoft.com/office/drawing/2014/main" id="{87A68DA2-8A70-4F88-3C56-D4FCCD38C53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123138" y="8982300"/>
            <a:ext cx="914336" cy="914336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D1F559C5-D109-14E5-83CF-E2328404AC73}"/>
              </a:ext>
            </a:extLst>
          </p:cNvPr>
          <p:cNvSpPr txBox="1">
            <a:spLocks/>
          </p:cNvSpPr>
          <p:nvPr/>
        </p:nvSpPr>
        <p:spPr>
          <a:xfrm>
            <a:off x="12425396" y="7709709"/>
            <a:ext cx="5201352" cy="1341724"/>
          </a:xfrm>
          <a:prstGeom prst="rect">
            <a:avLst/>
          </a:prstGeom>
        </p:spPr>
        <p:txBody>
          <a:bodyPr vert="horz" lIns="150781" tIns="75390" rIns="150781" bIns="753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s-ES" sz="2000" b="0" i="0" kern="1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507846"/>
            <a:r>
              <a:rPr lang="es-ES" sz="3298" b="1">
                <a:solidFill>
                  <a:srgbClr val="0066FF"/>
                </a:solidFill>
                <a:latin typeface="Arial" panose="020B0604020202020204"/>
              </a:rPr>
              <a:t>SOPORTE </a:t>
            </a:r>
            <a:endParaRPr lang="es-ES" sz="3298">
              <a:solidFill>
                <a:srgbClr val="0066FF"/>
              </a:solidFill>
              <a:latin typeface="Arial" panose="020B0604020202020204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5B281CD0-E0E6-84F4-E1FB-288984AF7B6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354879" y="8812139"/>
            <a:ext cx="7353300" cy="885825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F7ADA63D-C754-E1E6-C499-DF13F233ADD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6210150" y="8859764"/>
            <a:ext cx="3124200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8522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Interfaz de usuario gráfica, Texto, Aplicación, Correo electrónico&#10;&#10;Descripción generada automáticamente">
            <a:extLst>
              <a:ext uri="{FF2B5EF4-FFF2-40B4-BE49-F238E27FC236}">
                <a16:creationId xmlns:a16="http://schemas.microsoft.com/office/drawing/2014/main" id="{1BC8E88E-A71F-FBE6-21D9-3C7F33F5213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3085" y="3262982"/>
            <a:ext cx="2722747" cy="552731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6088CBEE-6148-4B18-82AC-4C04C17835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/>
              <a:t>ENTORNOS WEB PERSONALIZADOS: SOLICITUD </a:t>
            </a:r>
            <a:endParaRPr lang="es-ES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24187AF9-B989-7C78-BAAF-BD6F7BF6E0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0741" y="3059100"/>
            <a:ext cx="3732220" cy="5935085"/>
          </a:xfrm>
          <a:prstGeom prst="rect">
            <a:avLst/>
          </a:prstGeom>
        </p:spPr>
      </p:pic>
      <p:sp>
        <p:nvSpPr>
          <p:cNvPr id="18" name="Flecha: cheurón 17">
            <a:extLst>
              <a:ext uri="{FF2B5EF4-FFF2-40B4-BE49-F238E27FC236}">
                <a16:creationId xmlns:a16="http://schemas.microsoft.com/office/drawing/2014/main" id="{D258660F-3E39-4D89-7817-8FED18F32CB9}"/>
              </a:ext>
            </a:extLst>
          </p:cNvPr>
          <p:cNvSpPr/>
          <p:nvPr/>
        </p:nvSpPr>
        <p:spPr>
          <a:xfrm>
            <a:off x="7783330" y="5381782"/>
            <a:ext cx="597342" cy="1063907"/>
          </a:xfrm>
          <a:prstGeom prst="chevron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srgbClr val="58617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" name="Imagen 3" descr="Interfaz de usuario gráfica, Texto, Aplicación, Correo electrónico&#10;&#10;Descripción generada automáticamente">
            <a:extLst>
              <a:ext uri="{FF2B5EF4-FFF2-40B4-BE49-F238E27FC236}">
                <a16:creationId xmlns:a16="http://schemas.microsoft.com/office/drawing/2014/main" id="{BA62A654-29A1-DF22-E933-5951F5EBC42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8800" y="3262982"/>
            <a:ext cx="2722747" cy="5527317"/>
          </a:xfrm>
          <a:prstGeom prst="rect">
            <a:avLst/>
          </a:prstGeom>
        </p:spPr>
      </p:pic>
      <p:pic>
        <p:nvPicPr>
          <p:cNvPr id="10" name="Imagen 9" descr="Interfaz de usuario gráfica, Aplicación&#10;&#10;Descripción generada automáticamente">
            <a:extLst>
              <a:ext uri="{FF2B5EF4-FFF2-40B4-BE49-F238E27FC236}">
                <a16:creationId xmlns:a16="http://schemas.microsoft.com/office/drawing/2014/main" id="{E0E0B7A6-AB77-1F03-5301-1AA5EB2CDAC5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45213"/>
          <a:stretch/>
        </p:blipFill>
        <p:spPr>
          <a:xfrm>
            <a:off x="12218345" y="2693820"/>
            <a:ext cx="3504571" cy="7355267"/>
          </a:xfrm>
          <a:prstGeom prst="rect">
            <a:avLst/>
          </a:prstGeom>
        </p:spPr>
      </p:pic>
      <p:sp>
        <p:nvSpPr>
          <p:cNvPr id="12" name="Flecha: cheurón 11">
            <a:extLst>
              <a:ext uri="{FF2B5EF4-FFF2-40B4-BE49-F238E27FC236}">
                <a16:creationId xmlns:a16="http://schemas.microsoft.com/office/drawing/2014/main" id="{C56E6E57-18CB-5F87-109D-6E227A9215D8}"/>
              </a:ext>
            </a:extLst>
          </p:cNvPr>
          <p:cNvSpPr/>
          <p:nvPr/>
        </p:nvSpPr>
        <p:spPr>
          <a:xfrm>
            <a:off x="4288500" y="5381782"/>
            <a:ext cx="597342" cy="1063907"/>
          </a:xfrm>
          <a:prstGeom prst="chevron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srgbClr val="58617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Flecha: cheurón 13">
            <a:extLst>
              <a:ext uri="{FF2B5EF4-FFF2-40B4-BE49-F238E27FC236}">
                <a16:creationId xmlns:a16="http://schemas.microsoft.com/office/drawing/2014/main" id="{21C70B0F-FFA9-B74B-D8D8-6AD22734740F}"/>
              </a:ext>
            </a:extLst>
          </p:cNvPr>
          <p:cNvSpPr/>
          <p:nvPr/>
        </p:nvSpPr>
        <p:spPr>
          <a:xfrm>
            <a:off x="11368508" y="5381782"/>
            <a:ext cx="597342" cy="1063907"/>
          </a:xfrm>
          <a:prstGeom prst="chevron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srgbClr val="58617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5" name="Imagen 24" descr="Texto&#10;&#10;Descripción generada automáticamente">
            <a:extLst>
              <a:ext uri="{FF2B5EF4-FFF2-40B4-BE49-F238E27FC236}">
                <a16:creationId xmlns:a16="http://schemas.microsoft.com/office/drawing/2014/main" id="{38065DBF-150F-7EE4-998A-BE57E8E8B6C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85429" y="3262982"/>
            <a:ext cx="2670789" cy="5527317"/>
          </a:xfrm>
          <a:prstGeom prst="rect">
            <a:avLst/>
          </a:prstGeom>
        </p:spPr>
      </p:pic>
      <p:sp>
        <p:nvSpPr>
          <p:cNvPr id="26" name="Flecha: cheurón 25">
            <a:extLst>
              <a:ext uri="{FF2B5EF4-FFF2-40B4-BE49-F238E27FC236}">
                <a16:creationId xmlns:a16="http://schemas.microsoft.com/office/drawing/2014/main" id="{1DD44C77-582B-DD0F-EAF1-1D11E02822CF}"/>
              </a:ext>
            </a:extLst>
          </p:cNvPr>
          <p:cNvSpPr/>
          <p:nvPr/>
        </p:nvSpPr>
        <p:spPr>
          <a:xfrm>
            <a:off x="15979232" y="5381782"/>
            <a:ext cx="597342" cy="1063907"/>
          </a:xfrm>
          <a:prstGeom prst="chevron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srgbClr val="58617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51636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088CBEE-6148-4B18-82AC-4C04C17835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/>
              <a:t>ENTORNOS WEB PERSONALIZADOS: recopilación de datos</a:t>
            </a:r>
            <a:endParaRPr lang="es-ES"/>
          </a:p>
        </p:txBody>
      </p:sp>
      <p:pic>
        <p:nvPicPr>
          <p:cNvPr id="3" name="Picture 5">
            <a:extLst>
              <a:ext uri="{FF2B5EF4-FFF2-40B4-BE49-F238E27FC236}">
                <a16:creationId xmlns:a16="http://schemas.microsoft.com/office/drawing/2014/main" id="{0175A874-8E14-93A6-A6EE-08B916FDA7D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53422" y="1673694"/>
            <a:ext cx="1728822" cy="1730041"/>
          </a:xfrm>
          <a:prstGeom prst="ellipse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3747470A-2A45-6FFB-FD4C-108205424FE5}"/>
              </a:ext>
            </a:extLst>
          </p:cNvPr>
          <p:cNvSpPr txBox="1"/>
          <p:nvPr/>
        </p:nvSpPr>
        <p:spPr>
          <a:xfrm>
            <a:off x="3286606" y="1655957"/>
            <a:ext cx="156572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71202" indent="-471202" algn="l" defTabSz="1507776" rtl="0">
              <a:buFont typeface="Arial" panose="020B0604020202020204" pitchFamily="34" charset="0"/>
              <a:buChar char="•"/>
            </a:pPr>
            <a:r>
              <a:rPr lang="es-ES" sz="2800" kern="1200" dirty="0">
                <a:solidFill>
                  <a:srgbClr val="586179"/>
                </a:solidFill>
                <a:latin typeface="Telefonica Sans" panose="02000003020000060003" pitchFamily="50" charset="0"/>
                <a:ea typeface="+mn-ea"/>
                <a:cs typeface="+mn-cs"/>
              </a:rPr>
              <a:t>Recoge la información de tu asociado desde el entorno web que te facilita Telefónica.</a:t>
            </a:r>
          </a:p>
        </p:txBody>
      </p:sp>
      <p:sp>
        <p:nvSpPr>
          <p:cNvPr id="8" name="Rectángulo: esquinas redondeadas 7">
            <a:extLst>
              <a:ext uri="{FF2B5EF4-FFF2-40B4-BE49-F238E27FC236}">
                <a16:creationId xmlns:a16="http://schemas.microsoft.com/office/drawing/2014/main" id="{9FE93208-C4F9-5C36-6086-562F0216551B}"/>
              </a:ext>
            </a:extLst>
          </p:cNvPr>
          <p:cNvSpPr/>
          <p:nvPr/>
        </p:nvSpPr>
        <p:spPr>
          <a:xfrm>
            <a:off x="513577" y="4078880"/>
            <a:ext cx="4507347" cy="91433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7" rtl="0"/>
            <a:r>
              <a:rPr lang="es-ES" sz="1801" b="1">
                <a:solidFill>
                  <a:srgbClr val="0066FF"/>
                </a:solidFill>
                <a:latin typeface="Telefonica Sans" panose="02000003020000060003" pitchFamily="50" charset="0"/>
              </a:rPr>
              <a:t>DATOS DE CLIENTE </a:t>
            </a:r>
          </a:p>
        </p:txBody>
      </p:sp>
      <p:sp>
        <p:nvSpPr>
          <p:cNvPr id="9" name="Rectángulo: esquinas redondeadas 8">
            <a:extLst>
              <a:ext uri="{FF2B5EF4-FFF2-40B4-BE49-F238E27FC236}">
                <a16:creationId xmlns:a16="http://schemas.microsoft.com/office/drawing/2014/main" id="{4297506D-06F6-FCA5-0D92-EDC95558551D}"/>
              </a:ext>
            </a:extLst>
          </p:cNvPr>
          <p:cNvSpPr/>
          <p:nvPr/>
        </p:nvSpPr>
        <p:spPr>
          <a:xfrm>
            <a:off x="5399793" y="4078880"/>
            <a:ext cx="4507348" cy="91433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7" rtl="0"/>
            <a:r>
              <a:rPr lang="es-ES" sz="1801" b="1">
                <a:solidFill>
                  <a:srgbClr val="0066FF"/>
                </a:solidFill>
                <a:latin typeface="Telefonica Sans" panose="02000003020000060003" pitchFamily="50" charset="0"/>
              </a:rPr>
              <a:t>DIRECCIÓN Y ENTREGA        </a:t>
            </a:r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4C259CA0-0CC7-C795-07D2-94A7633E5085}"/>
              </a:ext>
            </a:extLst>
          </p:cNvPr>
          <p:cNvSpPr/>
          <p:nvPr/>
        </p:nvSpPr>
        <p:spPr>
          <a:xfrm>
            <a:off x="10253397" y="4078880"/>
            <a:ext cx="4507347" cy="91433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7" rtl="0"/>
            <a:r>
              <a:rPr lang="es-ES" sz="1801" b="1">
                <a:solidFill>
                  <a:srgbClr val="0066FF"/>
                </a:solidFill>
                <a:latin typeface="Telefonica Sans" panose="02000003020000060003" pitchFamily="50" charset="0"/>
              </a:rPr>
              <a:t>TEST ACELERA PYME</a:t>
            </a:r>
          </a:p>
        </p:txBody>
      </p:sp>
      <p:sp>
        <p:nvSpPr>
          <p:cNvPr id="11" name="Rectángulo: esquinas redondeadas 10">
            <a:extLst>
              <a:ext uri="{FF2B5EF4-FFF2-40B4-BE49-F238E27FC236}">
                <a16:creationId xmlns:a16="http://schemas.microsoft.com/office/drawing/2014/main" id="{89A78DDE-2E55-283D-E373-4F9D77020FB8}"/>
              </a:ext>
            </a:extLst>
          </p:cNvPr>
          <p:cNvSpPr/>
          <p:nvPr/>
        </p:nvSpPr>
        <p:spPr>
          <a:xfrm>
            <a:off x="15139613" y="4078880"/>
            <a:ext cx="4507347" cy="91433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7" rtl="0"/>
            <a:r>
              <a:rPr lang="es-ES" sz="1801" b="1">
                <a:solidFill>
                  <a:srgbClr val="0066FF"/>
                </a:solidFill>
                <a:latin typeface="Telefonica Sans" panose="02000003020000060003" pitchFamily="50" charset="0"/>
              </a:rPr>
              <a:t>VERIFICACIÓN (SOLICITUD) </a:t>
            </a:r>
          </a:p>
        </p:txBody>
      </p:sp>
      <p:grpSp>
        <p:nvGrpSpPr>
          <p:cNvPr id="30" name="Grupo 29">
            <a:extLst>
              <a:ext uri="{FF2B5EF4-FFF2-40B4-BE49-F238E27FC236}">
                <a16:creationId xmlns:a16="http://schemas.microsoft.com/office/drawing/2014/main" id="{66458278-BFD0-5866-0212-937F00D39277}"/>
              </a:ext>
            </a:extLst>
          </p:cNvPr>
          <p:cNvGrpSpPr/>
          <p:nvPr/>
        </p:nvGrpSpPr>
        <p:grpSpPr>
          <a:xfrm>
            <a:off x="9035523" y="3629738"/>
            <a:ext cx="1100737" cy="1114025"/>
            <a:chOff x="8044567" y="2546970"/>
            <a:chExt cx="1100815" cy="1114103"/>
          </a:xfrm>
        </p:grpSpPr>
        <p:sp>
          <p:nvSpPr>
            <p:cNvPr id="29" name="Elipse 28">
              <a:extLst>
                <a:ext uri="{FF2B5EF4-FFF2-40B4-BE49-F238E27FC236}">
                  <a16:creationId xmlns:a16="http://schemas.microsoft.com/office/drawing/2014/main" id="{8CA07CC9-4A2A-2B88-4032-55A763DAD20F}"/>
                </a:ext>
              </a:extLst>
            </p:cNvPr>
            <p:cNvSpPr/>
            <p:nvPr/>
          </p:nvSpPr>
          <p:spPr>
            <a:xfrm>
              <a:off x="8044567" y="2546970"/>
              <a:ext cx="1100815" cy="111410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7" rtl="0"/>
              <a:endParaRPr lang="es-ES" sz="1801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19" name="Gráfico 18" descr="Sobre con relleno sólido">
              <a:extLst>
                <a:ext uri="{FF2B5EF4-FFF2-40B4-BE49-F238E27FC236}">
                  <a16:creationId xmlns:a16="http://schemas.microsoft.com/office/drawing/2014/main" id="{D6E56564-2AAB-DA47-ED6C-9DB710C699C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137774" y="2636365"/>
              <a:ext cx="914400" cy="914400"/>
            </a:xfrm>
            <a:prstGeom prst="rect">
              <a:avLst/>
            </a:prstGeom>
          </p:spPr>
        </p:pic>
      </p:grpSp>
      <p:grpSp>
        <p:nvGrpSpPr>
          <p:cNvPr id="34" name="Grupo 33">
            <a:extLst>
              <a:ext uri="{FF2B5EF4-FFF2-40B4-BE49-F238E27FC236}">
                <a16:creationId xmlns:a16="http://schemas.microsoft.com/office/drawing/2014/main" id="{6F373862-A52C-61C8-CA17-76F39ACD8F94}"/>
              </a:ext>
            </a:extLst>
          </p:cNvPr>
          <p:cNvGrpSpPr/>
          <p:nvPr/>
        </p:nvGrpSpPr>
        <p:grpSpPr>
          <a:xfrm>
            <a:off x="13777144" y="3629738"/>
            <a:ext cx="1100737" cy="1114025"/>
            <a:chOff x="12314593" y="2890513"/>
            <a:chExt cx="1100815" cy="1114103"/>
          </a:xfrm>
        </p:grpSpPr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E0C4AF20-3496-54AA-E9DE-B1D55010BECB}"/>
                </a:ext>
              </a:extLst>
            </p:cNvPr>
            <p:cNvSpPr/>
            <p:nvPr/>
          </p:nvSpPr>
          <p:spPr>
            <a:xfrm>
              <a:off x="12314593" y="2890513"/>
              <a:ext cx="1100815" cy="111410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7" rtl="0"/>
              <a:endParaRPr lang="es-ES" sz="1801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21" name="Gráfico 20" descr="Lista de comprobación con relleno sólido">
              <a:extLst>
                <a:ext uri="{FF2B5EF4-FFF2-40B4-BE49-F238E27FC236}">
                  <a16:creationId xmlns:a16="http://schemas.microsoft.com/office/drawing/2014/main" id="{7248E397-5CD0-F6AB-A0C6-4B76FC091A9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2407800" y="3005415"/>
              <a:ext cx="914400" cy="914400"/>
            </a:xfrm>
            <a:prstGeom prst="rect">
              <a:avLst/>
            </a:prstGeom>
          </p:spPr>
        </p:pic>
      </p:grpSp>
      <p:grpSp>
        <p:nvGrpSpPr>
          <p:cNvPr id="36" name="Grupo 35">
            <a:extLst>
              <a:ext uri="{FF2B5EF4-FFF2-40B4-BE49-F238E27FC236}">
                <a16:creationId xmlns:a16="http://schemas.microsoft.com/office/drawing/2014/main" id="{98BC0D41-A607-0F06-A8D7-7BA135ACF0F9}"/>
              </a:ext>
            </a:extLst>
          </p:cNvPr>
          <p:cNvGrpSpPr/>
          <p:nvPr/>
        </p:nvGrpSpPr>
        <p:grpSpPr>
          <a:xfrm>
            <a:off x="18850682" y="3588595"/>
            <a:ext cx="1100737" cy="1114025"/>
            <a:chOff x="17750482" y="2054578"/>
            <a:chExt cx="1100815" cy="1114103"/>
          </a:xfrm>
        </p:grpSpPr>
        <p:sp>
          <p:nvSpPr>
            <p:cNvPr id="35" name="Elipse 34">
              <a:extLst>
                <a:ext uri="{FF2B5EF4-FFF2-40B4-BE49-F238E27FC236}">
                  <a16:creationId xmlns:a16="http://schemas.microsoft.com/office/drawing/2014/main" id="{3FF37AA9-7C37-3E73-70D5-555306C3D1DD}"/>
                </a:ext>
              </a:extLst>
            </p:cNvPr>
            <p:cNvSpPr/>
            <p:nvPr/>
          </p:nvSpPr>
          <p:spPr>
            <a:xfrm>
              <a:off x="17750482" y="2054578"/>
              <a:ext cx="1100815" cy="111410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7" rtl="0"/>
              <a:endParaRPr lang="es-ES" sz="1801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23" name="Gráfico 22" descr="Marca de insignia1 con relleno sólido">
              <a:extLst>
                <a:ext uri="{FF2B5EF4-FFF2-40B4-BE49-F238E27FC236}">
                  <a16:creationId xmlns:a16="http://schemas.microsoft.com/office/drawing/2014/main" id="{0C884B3B-C422-F516-8F10-D149EA3724E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7843689" y="2154429"/>
              <a:ext cx="914400" cy="914400"/>
            </a:xfrm>
            <a:prstGeom prst="rect">
              <a:avLst/>
            </a:prstGeom>
          </p:spPr>
        </p:pic>
      </p:grpSp>
      <p:grpSp>
        <p:nvGrpSpPr>
          <p:cNvPr id="28" name="Grupo 27">
            <a:extLst>
              <a:ext uri="{FF2B5EF4-FFF2-40B4-BE49-F238E27FC236}">
                <a16:creationId xmlns:a16="http://schemas.microsoft.com/office/drawing/2014/main" id="{CCE56F02-F83C-37D5-A8D4-14F7CC9B9564}"/>
              </a:ext>
            </a:extLst>
          </p:cNvPr>
          <p:cNvGrpSpPr/>
          <p:nvPr/>
        </p:nvGrpSpPr>
        <p:grpSpPr>
          <a:xfrm>
            <a:off x="4109621" y="3629738"/>
            <a:ext cx="1100737" cy="1114025"/>
            <a:chOff x="4031430" y="2657804"/>
            <a:chExt cx="1100815" cy="1114103"/>
          </a:xfrm>
        </p:grpSpPr>
        <p:sp>
          <p:nvSpPr>
            <p:cNvPr id="26" name="Elipse 25">
              <a:extLst>
                <a:ext uri="{FF2B5EF4-FFF2-40B4-BE49-F238E27FC236}">
                  <a16:creationId xmlns:a16="http://schemas.microsoft.com/office/drawing/2014/main" id="{D296538C-40A4-0CAF-2DB7-33450924DBE8}"/>
                </a:ext>
              </a:extLst>
            </p:cNvPr>
            <p:cNvSpPr/>
            <p:nvPr/>
          </p:nvSpPr>
          <p:spPr>
            <a:xfrm>
              <a:off x="4031430" y="2657804"/>
              <a:ext cx="1100815" cy="111410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57" rtl="0"/>
              <a:endParaRPr lang="es-ES" sz="1801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25" name="Gráfico 24" descr="Audiencia objetivo contorno">
              <a:extLst>
                <a:ext uri="{FF2B5EF4-FFF2-40B4-BE49-F238E27FC236}">
                  <a16:creationId xmlns:a16="http://schemas.microsoft.com/office/drawing/2014/main" id="{7947AD55-890B-7DAD-A167-6476472EBC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138786" y="2800104"/>
              <a:ext cx="914400" cy="914400"/>
            </a:xfrm>
            <a:prstGeom prst="rect">
              <a:avLst/>
            </a:prstGeom>
          </p:spPr>
        </p:pic>
      </p:grpSp>
      <p:sp>
        <p:nvSpPr>
          <p:cNvPr id="39" name="CuadroTexto 38">
            <a:extLst>
              <a:ext uri="{FF2B5EF4-FFF2-40B4-BE49-F238E27FC236}">
                <a16:creationId xmlns:a16="http://schemas.microsoft.com/office/drawing/2014/main" id="{1E5BA5BF-59E0-FDC0-FFFF-C6E6ED2B3EB7}"/>
              </a:ext>
            </a:extLst>
          </p:cNvPr>
          <p:cNvSpPr txBox="1"/>
          <p:nvPr/>
        </p:nvSpPr>
        <p:spPr>
          <a:xfrm>
            <a:off x="244773" y="5774631"/>
            <a:ext cx="4965584" cy="396897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42885" indent="-342885" algn="l" defTabSz="914357" rtl="0" fontAlgn="ct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2399" kern="1200">
                <a:solidFill>
                  <a:srgbClr val="586179"/>
                </a:solidFill>
                <a:latin typeface="Telefonica Sans" panose="02000003020000060003" pitchFamily="50" charset="0"/>
                <a:ea typeface="Calibri" panose="020F0502020204030204" pitchFamily="34" charset="0"/>
                <a:cs typeface="Calibri" panose="020F0502020204030204" pitchFamily="34" charset="0"/>
              </a:rPr>
              <a:t>Nombre de la Empresa para CIF</a:t>
            </a:r>
          </a:p>
          <a:p>
            <a:pPr marL="342885" indent="-342885" algn="l" defTabSz="914357" rtl="0" fontAlgn="ct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2399" kern="1200">
                <a:solidFill>
                  <a:srgbClr val="586179"/>
                </a:solidFill>
                <a:latin typeface="Telefonica Sans" panose="02000003020000060003" pitchFamily="50" charset="0"/>
                <a:ea typeface="Calibri" panose="020F0502020204030204" pitchFamily="34" charset="0"/>
                <a:cs typeface="Calibri" panose="020F0502020204030204" pitchFamily="34" charset="0"/>
              </a:rPr>
              <a:t>DNI/NIF/NIE</a:t>
            </a:r>
            <a:endParaRPr lang="es-ES" sz="2399">
              <a:solidFill>
                <a:srgbClr val="586179"/>
              </a:solidFill>
              <a:latin typeface="Telefonica Sans" panose="02000003020000060003" pitchFamily="50" charset="0"/>
              <a:ea typeface="+mn-ea"/>
              <a:cs typeface="+mn-cs"/>
            </a:endParaRPr>
          </a:p>
          <a:p>
            <a:pPr marL="342885" indent="-342885" algn="l" defTabSz="914357" rtl="0" fontAlgn="ct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2399" kern="1200">
                <a:solidFill>
                  <a:srgbClr val="586179"/>
                </a:solidFill>
                <a:latin typeface="Telefonica Sans" panose="02000003020000060003" pitchFamily="50" charset="0"/>
                <a:ea typeface="Calibri" panose="020F0502020204030204" pitchFamily="34" charset="0"/>
                <a:cs typeface="Calibri" panose="020F0502020204030204" pitchFamily="34" charset="0"/>
              </a:rPr>
              <a:t>Nombre</a:t>
            </a:r>
            <a:endParaRPr lang="es-ES" sz="2399">
              <a:solidFill>
                <a:srgbClr val="586179"/>
              </a:solidFill>
              <a:latin typeface="Telefonica Sans" panose="02000003020000060003" pitchFamily="50" charset="0"/>
              <a:ea typeface="+mn-ea"/>
              <a:cs typeface="+mn-cs"/>
            </a:endParaRPr>
          </a:p>
          <a:p>
            <a:pPr marL="342885" indent="-342885" algn="l" defTabSz="914357" rtl="0" fontAlgn="ct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2399" kern="1200">
                <a:solidFill>
                  <a:srgbClr val="586179"/>
                </a:solidFill>
                <a:latin typeface="Telefonica Sans" panose="02000003020000060003" pitchFamily="50" charset="0"/>
                <a:ea typeface="Calibri" panose="020F0502020204030204" pitchFamily="34" charset="0"/>
                <a:cs typeface="Calibri" panose="020F0502020204030204" pitchFamily="34" charset="0"/>
              </a:rPr>
              <a:t>Primer Apellido</a:t>
            </a:r>
            <a:endParaRPr lang="es-ES" sz="2399">
              <a:solidFill>
                <a:srgbClr val="586179"/>
              </a:solidFill>
              <a:latin typeface="Telefonica Sans" panose="02000003020000060003" pitchFamily="50" charset="0"/>
              <a:ea typeface="+mn-ea"/>
              <a:cs typeface="+mn-cs"/>
            </a:endParaRPr>
          </a:p>
          <a:p>
            <a:pPr marL="342885" indent="-342885" algn="l" defTabSz="914357" rtl="0" fontAlgn="ct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2399" kern="1200">
                <a:solidFill>
                  <a:srgbClr val="586179"/>
                </a:solidFill>
                <a:latin typeface="Telefonica Sans" panose="02000003020000060003" pitchFamily="50" charset="0"/>
                <a:ea typeface="Calibri" panose="020F0502020204030204" pitchFamily="34" charset="0"/>
                <a:cs typeface="Calibri" panose="020F0502020204030204" pitchFamily="34" charset="0"/>
              </a:rPr>
              <a:t>Segundo Apellido</a:t>
            </a:r>
            <a:endParaRPr lang="es-ES" sz="2399">
              <a:solidFill>
                <a:srgbClr val="586179"/>
              </a:solidFill>
              <a:latin typeface="Telefonica Sans" panose="02000003020000060003" pitchFamily="50" charset="0"/>
              <a:ea typeface="+mn-ea"/>
              <a:cs typeface="+mn-cs"/>
            </a:endParaRPr>
          </a:p>
          <a:p>
            <a:pPr marL="342885" indent="-342885" algn="l" defTabSz="914357" rtl="0" fontAlgn="ct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2399" kern="1200">
                <a:solidFill>
                  <a:srgbClr val="586179"/>
                </a:solidFill>
                <a:latin typeface="Telefonica Sans" panose="02000003020000060003" pitchFamily="50" charset="0"/>
                <a:ea typeface="Calibri" panose="020F0502020204030204" pitchFamily="34" charset="0"/>
                <a:cs typeface="Calibri" panose="020F0502020204030204" pitchFamily="34" charset="0"/>
              </a:rPr>
              <a:t>Código epígrafe de Actividad IAE</a:t>
            </a:r>
          </a:p>
          <a:p>
            <a:pPr marL="342885" indent="-342885" algn="l" defTabSz="914357" rtl="0" fontAlgn="ct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2399" kern="1200">
                <a:solidFill>
                  <a:srgbClr val="586179"/>
                </a:solidFill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IBAN</a:t>
            </a:r>
            <a:endParaRPr lang="es-ES" sz="2399">
              <a:solidFill>
                <a:srgbClr val="586179"/>
              </a:solidFill>
              <a:latin typeface="Telefonica Sans" panose="02000003020000060003" pitchFamily="50" charset="0"/>
              <a:ea typeface="+mn-ea"/>
              <a:cs typeface="+mn-cs"/>
            </a:endParaRP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1D922774-E74B-7A2A-4F5E-736C35BA0735}"/>
              </a:ext>
            </a:extLst>
          </p:cNvPr>
          <p:cNvSpPr txBox="1"/>
          <p:nvPr/>
        </p:nvSpPr>
        <p:spPr>
          <a:xfrm>
            <a:off x="5628913" y="5523944"/>
            <a:ext cx="4507347" cy="286136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kern="0"/>
            </a:defPPr>
            <a:lvl1pPr marL="342900" indent="-342900" algn="l" rtl="0" eaLnBrk="1" fontAlgn="ctr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400" b="0" i="0" u="none" strike="noStrike" kern="1200">
                <a:solidFill>
                  <a:schemeClr val="tx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342885" indent="-342885" defTabSz="914357"/>
            <a:r>
              <a:rPr lang="es-ES" sz="2399">
                <a:solidFill>
                  <a:srgbClr val="586179"/>
                </a:solidFill>
                <a:latin typeface="Telefonica Sans" panose="02000003020000060003" pitchFamily="50" charset="0"/>
              </a:rPr>
              <a:t>Teléfono</a:t>
            </a:r>
          </a:p>
          <a:p>
            <a:pPr marL="342885" indent="-342885" defTabSz="914357"/>
            <a:r>
              <a:rPr lang="es-ES" sz="2399">
                <a:solidFill>
                  <a:srgbClr val="586179"/>
                </a:solidFill>
                <a:latin typeface="Telefonica Sans" panose="02000003020000060003" pitchFamily="50" charset="0"/>
              </a:rPr>
              <a:t>Email</a:t>
            </a:r>
          </a:p>
          <a:p>
            <a:pPr marL="342885" indent="-342885" defTabSz="914357"/>
            <a:r>
              <a:rPr lang="es-ES" sz="2399">
                <a:solidFill>
                  <a:srgbClr val="586179"/>
                </a:solidFill>
                <a:latin typeface="Telefonica Sans" panose="02000003020000060003" pitchFamily="50" charset="0"/>
              </a:rPr>
              <a:t>Dirección completa</a:t>
            </a:r>
          </a:p>
          <a:p>
            <a:pPr marL="342885" indent="-342885" defTabSz="914357"/>
            <a:r>
              <a:rPr lang="es-ES" sz="2399">
                <a:solidFill>
                  <a:srgbClr val="586179"/>
                </a:solidFill>
                <a:latin typeface="Telefonica Sans" panose="02000003020000060003" pitchFamily="50" charset="0"/>
              </a:rPr>
              <a:t>Población</a:t>
            </a:r>
          </a:p>
          <a:p>
            <a:pPr marL="342885" indent="-342885" defTabSz="914357"/>
            <a:r>
              <a:rPr lang="es-ES" sz="2399">
                <a:solidFill>
                  <a:srgbClr val="586179"/>
                </a:solidFill>
                <a:latin typeface="Telefonica Sans" panose="02000003020000060003" pitchFamily="50" charset="0"/>
              </a:rPr>
              <a:t>Provincia del Cliente</a:t>
            </a: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3BCBF96B-4C84-4F5B-0867-206B11432DAA}"/>
              </a:ext>
            </a:extLst>
          </p:cNvPr>
          <p:cNvSpPr txBox="1"/>
          <p:nvPr/>
        </p:nvSpPr>
        <p:spPr>
          <a:xfrm>
            <a:off x="10253397" y="5566146"/>
            <a:ext cx="4507347" cy="341516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kern="0"/>
            </a:defPPr>
            <a:lvl1pPr marL="342900" indent="-342900" algn="l" rtl="0" eaLnBrk="1" fontAlgn="ctr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400" b="0" i="0" u="none" strike="noStrike" kern="1200">
                <a:solidFill>
                  <a:schemeClr val="tx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342885" indent="-342885" defTabSz="914357"/>
            <a:r>
              <a:rPr lang="es-ES" sz="2399">
                <a:solidFill>
                  <a:srgbClr val="586179"/>
                </a:solidFill>
                <a:latin typeface="Telefonica Sans" panose="02000003020000060003" pitchFamily="50" charset="0"/>
              </a:rPr>
              <a:t>¿El Cliente ha realizado el test de autodiagnóstico de Acelera Pyme? </a:t>
            </a:r>
            <a:r>
              <a:rPr lang="es-ES" sz="2399" i="1">
                <a:solidFill>
                  <a:srgbClr val="586179"/>
                </a:solidFill>
                <a:latin typeface="Telefonica Sans" panose="02000003020000060003" pitchFamily="50" charset="0"/>
              </a:rPr>
              <a:t>Sí/No</a:t>
            </a:r>
          </a:p>
          <a:p>
            <a:pPr marL="342885" indent="-342885" defTabSz="914357"/>
            <a:r>
              <a:rPr lang="es-ES" sz="2399">
                <a:solidFill>
                  <a:srgbClr val="586179"/>
                </a:solidFill>
                <a:latin typeface="Telefonica Sans" panose="02000003020000060003" pitchFamily="50" charset="0"/>
              </a:rPr>
              <a:t>Fecha en la que el cliente ha realizado el Test Digital (Acelera Pyme): </a:t>
            </a:r>
            <a:r>
              <a:rPr lang="es-ES" sz="2399" i="1" err="1">
                <a:solidFill>
                  <a:srgbClr val="586179"/>
                </a:solidFill>
                <a:latin typeface="Telefonica Sans" panose="02000003020000060003" pitchFamily="50" charset="0"/>
              </a:rPr>
              <a:t>dd</a:t>
            </a:r>
            <a:r>
              <a:rPr lang="es-ES" sz="2399" i="1">
                <a:solidFill>
                  <a:srgbClr val="586179"/>
                </a:solidFill>
                <a:latin typeface="Telefonica Sans" panose="02000003020000060003" pitchFamily="50" charset="0"/>
              </a:rPr>
              <a:t>/mm/</a:t>
            </a:r>
            <a:r>
              <a:rPr lang="es-ES" sz="2399" i="1" err="1">
                <a:solidFill>
                  <a:srgbClr val="586179"/>
                </a:solidFill>
                <a:latin typeface="Telefonica Sans" panose="02000003020000060003" pitchFamily="50" charset="0"/>
              </a:rPr>
              <a:t>aaaa</a:t>
            </a:r>
            <a:endParaRPr lang="es-ES" sz="2399" i="1">
              <a:solidFill>
                <a:srgbClr val="586179"/>
              </a:solidFill>
              <a:latin typeface="Telefonica Sans" panose="02000003020000060003" pitchFamily="50" charset="0"/>
            </a:endParaRP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E285C9E0-CCD5-B532-2E6D-2C421EC6E408}"/>
              </a:ext>
            </a:extLst>
          </p:cNvPr>
          <p:cNvSpPr txBox="1"/>
          <p:nvPr/>
        </p:nvSpPr>
        <p:spPr>
          <a:xfrm>
            <a:off x="15139612" y="5463636"/>
            <a:ext cx="4680542" cy="489198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kern="0"/>
            </a:defPPr>
            <a:lvl1pPr marL="342900" indent="-342900" algn="l" rtl="0" eaLnBrk="1" fontAlgn="ctr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400" b="0" i="0" u="none" strike="noStrike" kern="1200">
                <a:solidFill>
                  <a:schemeClr val="tx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342885" indent="-342885" defTabSz="914357">
              <a:lnSpc>
                <a:spcPct val="100000"/>
              </a:lnSpc>
            </a:pPr>
            <a:r>
              <a:rPr lang="es-ES" sz="2399">
                <a:solidFill>
                  <a:srgbClr val="586179"/>
                </a:solidFill>
                <a:latin typeface="Telefonica Sans" panose="02000003020000060003" pitchFamily="50" charset="0"/>
              </a:rPr>
              <a:t>No existe conflicto de intereses para la petición de esta solicitud.</a:t>
            </a:r>
          </a:p>
          <a:p>
            <a:pPr marL="342885" indent="-342885" defTabSz="914357">
              <a:lnSpc>
                <a:spcPct val="100000"/>
              </a:lnSpc>
            </a:pPr>
            <a:r>
              <a:rPr lang="es-ES" sz="2399">
                <a:solidFill>
                  <a:srgbClr val="586179"/>
                </a:solidFill>
                <a:latin typeface="Telefonica Sans" panose="02000003020000060003" pitchFamily="50" charset="0"/>
              </a:rPr>
              <a:t>La empresa se encuentra al corriente de pago con la Agencia Tributaria y con la Seguridad Social.</a:t>
            </a:r>
          </a:p>
          <a:p>
            <a:pPr marL="342885" indent="-342885" defTabSz="914357">
              <a:lnSpc>
                <a:spcPct val="100000"/>
              </a:lnSpc>
            </a:pPr>
            <a:r>
              <a:rPr lang="es-ES" sz="2399">
                <a:solidFill>
                  <a:srgbClr val="586179"/>
                </a:solidFill>
                <a:latin typeface="Telefonica Sans" panose="02000003020000060003" pitchFamily="50" charset="0"/>
              </a:rPr>
              <a:t>La empresa tiene condición de PYME, y no es una empresa en crisis.</a:t>
            </a:r>
          </a:p>
          <a:p>
            <a:pPr marL="342885" indent="-342885" defTabSz="914357">
              <a:lnSpc>
                <a:spcPct val="100000"/>
              </a:lnSpc>
            </a:pPr>
            <a:r>
              <a:rPr lang="es-ES" sz="2399">
                <a:solidFill>
                  <a:srgbClr val="586179"/>
                </a:solidFill>
                <a:latin typeface="Telefonica Sans" panose="02000003020000060003" pitchFamily="50" charset="0"/>
              </a:rPr>
              <a:t>La empresa tiene una antigüedad mínima de 6 meses.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6FB46C0-0390-F632-2427-B086B40B0244}"/>
              </a:ext>
            </a:extLst>
          </p:cNvPr>
          <p:cNvSpPr txBox="1"/>
          <p:nvPr/>
        </p:nvSpPr>
        <p:spPr>
          <a:xfrm>
            <a:off x="3286608" y="2259575"/>
            <a:ext cx="16257177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defTabSz="914358">
              <a:defRPr sz="1698">
                <a:solidFill>
                  <a:srgbClr val="586179"/>
                </a:solidFill>
                <a:latin typeface="Telefonica Sans" panose="02000003020000060003" pitchFamily="50" charset="0"/>
              </a:defRPr>
            </a:lvl1pPr>
          </a:lstStyle>
          <a:p>
            <a:pPr marL="471202" indent="-471202" algn="l" defTabSz="1507776" rtl="0">
              <a:buFont typeface="Arial" panose="020B0604020202020204" pitchFamily="34" charset="0"/>
              <a:buChar char="•"/>
            </a:pPr>
            <a:r>
              <a:rPr lang="es-ES" sz="2800" kern="1200">
                <a:ea typeface="+mn-ea"/>
                <a:cs typeface="+mn-cs"/>
              </a:rPr>
              <a:t>En caso de bono solicitado a través de un representante voluntario distinto de Telefónica, la gestión de la ampliación será responsabilidad de la asociación/asociado</a:t>
            </a:r>
          </a:p>
        </p:txBody>
      </p:sp>
    </p:spTree>
    <p:extLst>
      <p:ext uri="{BB962C8B-B14F-4D97-AF65-F5344CB8AC3E}">
        <p14:creationId xmlns:p14="http://schemas.microsoft.com/office/powerpoint/2010/main" val="42648294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6CAD99F2-B402-EFC1-866F-21764A99D6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7424" y="2890678"/>
            <a:ext cx="6433955" cy="376974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545C5A45-2CB4-5F2D-F437-14D9F7D112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82069" y="2890678"/>
            <a:ext cx="6294991" cy="368795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70F45233-5123-E30D-1612-10DFA81D7F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98041" y="7430897"/>
            <a:ext cx="5431097" cy="377685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DAF7C7C8-982B-A673-014A-E67520B7621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52051" y="7698623"/>
            <a:ext cx="8979652" cy="227383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6CE4E96F-4873-A3A8-A1EF-BC8C4A698E42}"/>
              </a:ext>
            </a:extLst>
          </p:cNvPr>
          <p:cNvSpPr txBox="1"/>
          <p:nvPr/>
        </p:nvSpPr>
        <p:spPr>
          <a:xfrm>
            <a:off x="1267422" y="2263075"/>
            <a:ext cx="2675732" cy="4476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507846" rtl="0"/>
            <a:r>
              <a:rPr lang="es-ES" sz="2309" kern="1200">
                <a:solidFill>
                  <a:srgbClr val="0066FF"/>
                </a:solidFill>
                <a:latin typeface="Telefonica Sans Medium" panose="02000003020000060003" pitchFamily="50" charset="0"/>
                <a:ea typeface="+mn-ea"/>
                <a:cs typeface="+mn-cs"/>
              </a:rPr>
              <a:t>Datos de contacto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0F2BA0B0-AEFF-6467-7249-315222958EEB}"/>
              </a:ext>
            </a:extLst>
          </p:cNvPr>
          <p:cNvSpPr txBox="1"/>
          <p:nvPr/>
        </p:nvSpPr>
        <p:spPr>
          <a:xfrm>
            <a:off x="10290894" y="2263074"/>
            <a:ext cx="1858201" cy="4476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507846" rtl="0"/>
            <a:r>
              <a:rPr lang="es-ES" sz="2309" kern="1200">
                <a:solidFill>
                  <a:srgbClr val="0066FF"/>
                </a:solidFill>
                <a:latin typeface="Telefonica Sans Medium" panose="02000003020000060003" pitchFamily="50" charset="0"/>
                <a:ea typeface="+mn-ea"/>
                <a:cs typeface="+mn-cs"/>
              </a:rPr>
              <a:t>Datos PYME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B4A25C64-4BCD-AC53-F3A0-BA4CDE5CB74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6153" r="6830" b="39173"/>
          <a:stretch/>
        </p:blipFill>
        <p:spPr>
          <a:xfrm>
            <a:off x="1345567" y="256873"/>
            <a:ext cx="1880442" cy="1966943"/>
          </a:xfrm>
          <a:prstGeom prst="rect">
            <a:avLst/>
          </a:prstGeom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3CFEDA31-017E-BEA7-5EFA-B1D1CF2290E7}"/>
              </a:ext>
            </a:extLst>
          </p:cNvPr>
          <p:cNvSpPr txBox="1"/>
          <p:nvPr/>
        </p:nvSpPr>
        <p:spPr>
          <a:xfrm>
            <a:off x="1628492" y="1306810"/>
            <a:ext cx="155863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 rtl="0"/>
            <a:r>
              <a:rPr lang="es-ES" sz="2400" kern="1200">
                <a:solidFill>
                  <a:srgbClr val="586179"/>
                </a:solidFill>
                <a:latin typeface="Telefonica Sans Light" panose="02000003020000060003" pitchFamily="50" charset="0"/>
                <a:ea typeface="+mn-ea"/>
                <a:cs typeface="+mn-cs"/>
              </a:rPr>
              <a:t>Acompaña a tu asociado en el registro en </a:t>
            </a:r>
            <a:r>
              <a:rPr lang="es-ES" sz="2400" kern="1200">
                <a:solidFill>
                  <a:srgbClr val="000000"/>
                </a:solidFill>
                <a:latin typeface="Arial" panose="020B0604020202020204"/>
                <a:ea typeface="+mn-ea"/>
                <a:cs typeface="+mn-cs"/>
                <a:hlinkClick r:id="rId7"/>
              </a:rPr>
              <a:t>https://www.acelerapyme.gob.es/</a:t>
            </a:r>
            <a:r>
              <a:rPr lang="es-ES" sz="2400" kern="1200">
                <a:solidFill>
                  <a:srgbClr val="000000"/>
                </a:solidFill>
                <a:latin typeface="Arial" panose="020B0604020202020204"/>
                <a:ea typeface="+mn-ea"/>
                <a:cs typeface="+mn-cs"/>
              </a:rPr>
              <a:t> </a:t>
            </a:r>
            <a:endParaRPr lang="es-ES" sz="2400" kern="1200">
              <a:solidFill>
                <a:srgbClr val="586179"/>
              </a:solidFill>
              <a:latin typeface="Telefonica Sans Light" panose="02000003020000060003" pitchFamily="50" charset="0"/>
              <a:ea typeface="+mn-ea"/>
              <a:cs typeface="+mn-cs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7F358CC6-6DDC-405A-BB52-5E51C3AA4714}"/>
              </a:ext>
            </a:extLst>
          </p:cNvPr>
          <p:cNvSpPr txBox="1"/>
          <p:nvPr/>
        </p:nvSpPr>
        <p:spPr>
          <a:xfrm>
            <a:off x="3632833" y="256872"/>
            <a:ext cx="4596130" cy="11073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507846" rtl="0"/>
            <a:r>
              <a:rPr lang="es-ES" sz="6596" kern="1200">
                <a:solidFill>
                  <a:srgbClr val="0066FF"/>
                </a:solidFill>
                <a:latin typeface="Telefonica Sans Medium" panose="02000003020000060003" pitchFamily="50" charset="0"/>
                <a:ea typeface="+mn-ea"/>
                <a:cs typeface="+mn-cs"/>
              </a:rPr>
              <a:t>1. </a:t>
            </a:r>
            <a:r>
              <a:rPr lang="es-ES" sz="2800" kern="1200">
                <a:solidFill>
                  <a:srgbClr val="0066FF"/>
                </a:solidFill>
                <a:latin typeface="Telefonica Sans Medium" panose="02000003020000060003" pitchFamily="50" charset="0"/>
                <a:ea typeface="+mn-ea"/>
                <a:cs typeface="+mn-cs"/>
              </a:rPr>
              <a:t>Registro Acelera pyme</a:t>
            </a:r>
            <a:endParaRPr lang="es-ES" sz="2309" kern="1200">
              <a:solidFill>
                <a:srgbClr val="0066FF"/>
              </a:solidFill>
              <a:latin typeface="Telefonica Sans Medium" panose="02000003020000060003" pitchFamily="50" charset="0"/>
              <a:ea typeface="+mn-ea"/>
              <a:cs typeface="+mn-cs"/>
            </a:endParaRPr>
          </a:p>
        </p:txBody>
      </p: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A942829C-732C-E3CF-056D-0B47F28FD4DB}"/>
              </a:ext>
            </a:extLst>
          </p:cNvPr>
          <p:cNvCxnSpPr/>
          <p:nvPr/>
        </p:nvCxnSpPr>
        <p:spPr>
          <a:xfrm>
            <a:off x="1397616" y="2685879"/>
            <a:ext cx="591263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14285AD5-3785-3441-B412-873920330CE8}"/>
              </a:ext>
            </a:extLst>
          </p:cNvPr>
          <p:cNvCxnSpPr/>
          <p:nvPr/>
        </p:nvCxnSpPr>
        <p:spPr>
          <a:xfrm>
            <a:off x="10482069" y="2685879"/>
            <a:ext cx="591263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uadroTexto 22">
            <a:extLst>
              <a:ext uri="{FF2B5EF4-FFF2-40B4-BE49-F238E27FC236}">
                <a16:creationId xmlns:a16="http://schemas.microsoft.com/office/drawing/2014/main" id="{B95F5704-EE82-B237-D31E-66B8535A496C}"/>
              </a:ext>
            </a:extLst>
          </p:cNvPr>
          <p:cNvSpPr txBox="1"/>
          <p:nvPr/>
        </p:nvSpPr>
        <p:spPr>
          <a:xfrm>
            <a:off x="1267423" y="6735413"/>
            <a:ext cx="1778051" cy="4476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507846" rtl="0"/>
            <a:r>
              <a:rPr lang="es-ES" sz="2309" kern="1200">
                <a:solidFill>
                  <a:srgbClr val="0066FF"/>
                </a:solidFill>
                <a:latin typeface="Telefonica Sans Medium" panose="02000003020000060003" pitchFamily="50" charset="0"/>
                <a:ea typeface="+mn-ea"/>
                <a:cs typeface="+mn-cs"/>
              </a:rPr>
              <a:t>Vista Previa</a:t>
            </a: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645C0B62-A414-EA9A-2FC6-3FCA9E819DAB}"/>
              </a:ext>
            </a:extLst>
          </p:cNvPr>
          <p:cNvCxnSpPr/>
          <p:nvPr/>
        </p:nvCxnSpPr>
        <p:spPr>
          <a:xfrm>
            <a:off x="1379450" y="7158217"/>
            <a:ext cx="591263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uadroTexto 24">
            <a:extLst>
              <a:ext uri="{FF2B5EF4-FFF2-40B4-BE49-F238E27FC236}">
                <a16:creationId xmlns:a16="http://schemas.microsoft.com/office/drawing/2014/main" id="{94EF9635-0C6E-3E48-0F0E-A80D190455C4}"/>
              </a:ext>
            </a:extLst>
          </p:cNvPr>
          <p:cNvSpPr txBox="1"/>
          <p:nvPr/>
        </p:nvSpPr>
        <p:spPr>
          <a:xfrm>
            <a:off x="10370042" y="6735413"/>
            <a:ext cx="4709944" cy="4476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507846" rtl="0"/>
            <a:r>
              <a:rPr lang="es-ES" sz="2309" kern="1200">
                <a:solidFill>
                  <a:srgbClr val="0066FF"/>
                </a:solidFill>
                <a:latin typeface="Telefonica Sans Medium" panose="02000003020000060003" pitchFamily="50" charset="0"/>
                <a:ea typeface="+mn-ea"/>
                <a:cs typeface="+mn-cs"/>
              </a:rPr>
              <a:t>Email de confirmación de registro</a:t>
            </a:r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1B66D6C8-64DC-EB17-5FBF-994CBF1BA47F}"/>
              </a:ext>
            </a:extLst>
          </p:cNvPr>
          <p:cNvCxnSpPr/>
          <p:nvPr/>
        </p:nvCxnSpPr>
        <p:spPr>
          <a:xfrm>
            <a:off x="10482069" y="7158217"/>
            <a:ext cx="591263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10260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 descr="Imagen que contiene luz&#10;&#10;Descripción generada automáticamente">
            <a:extLst>
              <a:ext uri="{FF2B5EF4-FFF2-40B4-BE49-F238E27FC236}">
                <a16:creationId xmlns:a16="http://schemas.microsoft.com/office/drawing/2014/main" id="{44E5B8FB-CAAD-7D17-447F-71C73690DC6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>
            <a:alphaModFix am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498228"/>
            <a:ext cx="20104098" cy="8811122"/>
          </a:xfrm>
          <a:prstGeom prst="rect">
            <a:avLst/>
          </a:prstGeom>
        </p:spPr>
      </p:pic>
      <p:sp>
        <p:nvSpPr>
          <p:cNvPr id="19" name="CuadroTexto 18">
            <a:extLst>
              <a:ext uri="{FF2B5EF4-FFF2-40B4-BE49-F238E27FC236}">
                <a16:creationId xmlns:a16="http://schemas.microsoft.com/office/drawing/2014/main" id="{B7331AD4-4E68-E71A-DCE8-CBCD15364CCA}"/>
              </a:ext>
            </a:extLst>
          </p:cNvPr>
          <p:cNvSpPr txBox="1"/>
          <p:nvPr/>
        </p:nvSpPr>
        <p:spPr>
          <a:xfrm>
            <a:off x="0" y="-1"/>
            <a:ext cx="20104100" cy="2520000"/>
          </a:xfrm>
          <a:prstGeom prst="rect">
            <a:avLst/>
          </a:prstGeom>
          <a:solidFill>
            <a:srgbClr val="0066FF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4B1CE49E-CE2F-383C-A497-EB493D6CC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52397"/>
            <a:ext cx="20104099" cy="2709193"/>
          </a:xfrm>
        </p:spPr>
        <p:txBody>
          <a:bodyPr/>
          <a:lstStyle/>
          <a:p>
            <a:pPr algn="ctr"/>
            <a:br>
              <a:rPr lang="es-ES" sz="4800"/>
            </a:br>
            <a:r>
              <a:rPr lang="es-ES" sz="5400">
                <a:solidFill>
                  <a:schemeClr val="bg1"/>
                </a:solidFill>
                <a:latin typeface="Telefonica Sans DemiBold" panose="02000003020000060003" pitchFamily="50" charset="0"/>
              </a:rPr>
              <a:t>FASE III KIT DIGITAL,</a:t>
            </a:r>
            <a:endParaRPr lang="es-ES" sz="4800">
              <a:solidFill>
                <a:schemeClr val="bg1"/>
              </a:solidFill>
              <a:latin typeface="Telefonica Sans DemiBold" panose="02000003020000060003" pitchFamily="50" charset="0"/>
            </a:endParaRP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DD37D4B8-E3FC-F6C3-D66C-D8E6A8831D2C}"/>
              </a:ext>
            </a:extLst>
          </p:cNvPr>
          <p:cNvGrpSpPr/>
          <p:nvPr/>
        </p:nvGrpSpPr>
        <p:grpSpPr>
          <a:xfrm>
            <a:off x="1309459" y="3635266"/>
            <a:ext cx="17485178" cy="4565650"/>
            <a:chOff x="1714726" y="4503101"/>
            <a:chExt cx="17485178" cy="4565650"/>
          </a:xfrm>
        </p:grpSpPr>
        <p:sp>
          <p:nvSpPr>
            <p:cNvPr id="22" name="Elipse 21">
              <a:extLst>
                <a:ext uri="{FF2B5EF4-FFF2-40B4-BE49-F238E27FC236}">
                  <a16:creationId xmlns:a16="http://schemas.microsoft.com/office/drawing/2014/main" id="{7AC55935-DFEE-84F6-05B6-51ADCDC77E66}"/>
                </a:ext>
              </a:extLst>
            </p:cNvPr>
            <p:cNvSpPr/>
            <p:nvPr/>
          </p:nvSpPr>
          <p:spPr>
            <a:xfrm>
              <a:off x="14494554" y="4626817"/>
              <a:ext cx="4705350" cy="4441934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" name="Elipse 20">
              <a:extLst>
                <a:ext uri="{FF2B5EF4-FFF2-40B4-BE49-F238E27FC236}">
                  <a16:creationId xmlns:a16="http://schemas.microsoft.com/office/drawing/2014/main" id="{D7AB7FFE-DE05-D470-F995-99B360702B96}"/>
                </a:ext>
              </a:extLst>
            </p:cNvPr>
            <p:cNvSpPr/>
            <p:nvPr/>
          </p:nvSpPr>
          <p:spPr>
            <a:xfrm>
              <a:off x="8287201" y="4626817"/>
              <a:ext cx="4705350" cy="4441934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Elipse 19">
              <a:extLst>
                <a:ext uri="{FF2B5EF4-FFF2-40B4-BE49-F238E27FC236}">
                  <a16:creationId xmlns:a16="http://schemas.microsoft.com/office/drawing/2014/main" id="{D99B40DF-8FA9-0B6E-2661-59F50BF714B4}"/>
                </a:ext>
              </a:extLst>
            </p:cNvPr>
            <p:cNvSpPr/>
            <p:nvPr/>
          </p:nvSpPr>
          <p:spPr>
            <a:xfrm>
              <a:off x="2084839" y="4626817"/>
              <a:ext cx="4705350" cy="4441934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" name="Elipse 10">
              <a:extLst>
                <a:ext uri="{FF2B5EF4-FFF2-40B4-BE49-F238E27FC236}">
                  <a16:creationId xmlns:a16="http://schemas.microsoft.com/office/drawing/2014/main" id="{179E7725-3B96-43E4-0023-358C0975FD8E}"/>
                </a:ext>
              </a:extLst>
            </p:cNvPr>
            <p:cNvSpPr/>
            <p:nvPr/>
          </p:nvSpPr>
          <p:spPr>
            <a:xfrm>
              <a:off x="1714726" y="4503101"/>
              <a:ext cx="4705350" cy="4286250"/>
            </a:xfrm>
            <a:prstGeom prst="ellipse">
              <a:avLst/>
            </a:prstGeom>
            <a:solidFill>
              <a:srgbClr val="0066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yme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utónomo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on </a:t>
              </a:r>
              <a:r>
                <a:rPr kumimoji="0" lang="es-ES" sz="4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enos  </a:t>
              </a:r>
              <a:endParaRPr kumimoji="0" lang="es-ES" sz="4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fonica Hand" panose="00000500000000000000" pitchFamily="2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4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fonica Hand" panose="00000500000000000000" pitchFamily="2" charset="0"/>
                  <a:ea typeface="+mn-ea"/>
                  <a:cs typeface="+mn-cs"/>
                </a:rPr>
                <a:t>3 empleados </a:t>
              </a:r>
            </a:p>
          </p:txBody>
        </p:sp>
        <p:sp>
          <p:nvSpPr>
            <p:cNvPr id="12" name="Elipse 11">
              <a:extLst>
                <a:ext uri="{FF2B5EF4-FFF2-40B4-BE49-F238E27FC236}">
                  <a16:creationId xmlns:a16="http://schemas.microsoft.com/office/drawing/2014/main" id="{F7CDB5D1-0EF9-B62C-D603-1D2ABED32883}"/>
                </a:ext>
              </a:extLst>
            </p:cNvPr>
            <p:cNvSpPr/>
            <p:nvPr/>
          </p:nvSpPr>
          <p:spPr>
            <a:xfrm>
              <a:off x="7917088" y="4503101"/>
              <a:ext cx="4705350" cy="4286250"/>
            </a:xfrm>
            <a:prstGeom prst="ellipse">
              <a:avLst/>
            </a:prstGeom>
            <a:solidFill>
              <a:srgbClr val="0066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4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ono ampliado hasta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0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fonica Hand" panose="00000500000000000000" pitchFamily="2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4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fonica Hand" panose="00000500000000000000" pitchFamily="2" charset="0"/>
                  <a:ea typeface="+mn-ea"/>
                  <a:cs typeface="+mn-cs"/>
                </a:rPr>
                <a:t>3.000€</a:t>
              </a:r>
            </a:p>
          </p:txBody>
        </p:sp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47E5D681-95A3-9CE2-EFD3-AC4A4582F8E5}"/>
                </a:ext>
              </a:extLst>
            </p:cNvPr>
            <p:cNvSpPr/>
            <p:nvPr/>
          </p:nvSpPr>
          <p:spPr>
            <a:xfrm>
              <a:off x="14119450" y="4503101"/>
              <a:ext cx="4705350" cy="4286250"/>
            </a:xfrm>
            <a:prstGeom prst="ellipse">
              <a:avLst/>
            </a:prstGeom>
            <a:solidFill>
              <a:srgbClr val="0066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4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ueva famili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0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fonica Hand" panose="00000500000000000000" pitchFamily="2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4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fonica Hand" panose="00000500000000000000" pitchFamily="2" charset="0"/>
                  <a:ea typeface="+mn-ea"/>
                  <a:cs typeface="+mn-cs"/>
                </a:rPr>
                <a:t>Puesto de trabajo seguro</a:t>
              </a:r>
            </a:p>
          </p:txBody>
        </p:sp>
      </p:grpSp>
      <p:sp>
        <p:nvSpPr>
          <p:cNvPr id="14" name="CuadroTexto 13">
            <a:extLst>
              <a:ext uri="{FF2B5EF4-FFF2-40B4-BE49-F238E27FC236}">
                <a16:creationId xmlns:a16="http://schemas.microsoft.com/office/drawing/2014/main" id="{905F498B-68D3-492A-B95D-29CEC07A3B2D}"/>
              </a:ext>
            </a:extLst>
          </p:cNvPr>
          <p:cNvSpPr txBox="1"/>
          <p:nvPr/>
        </p:nvSpPr>
        <p:spPr>
          <a:xfrm>
            <a:off x="0" y="1432912"/>
            <a:ext cx="20104099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fonica Sans Light" panose="02000003020000060003" pitchFamily="50" charset="0"/>
                <a:ea typeface="+mj-ea"/>
                <a:cs typeface="+mj-cs"/>
              </a:rPr>
              <a:t>el </a:t>
            </a:r>
            <a:r>
              <a:rPr lang="es-ES" sz="4400" kern="1200" dirty="0">
                <a:solidFill>
                  <a:srgbClr val="FFFFFF"/>
                </a:solidFill>
                <a:latin typeface="Telefonica Sans Light" panose="02000003020000060003" pitchFamily="50" charset="0"/>
                <a:ea typeface="+mj-ea"/>
                <a:cs typeface="+mj-cs"/>
              </a:rPr>
              <a:t>N</a:t>
            </a:r>
            <a:r>
              <a:rPr kumimoji="0" lang="es-ES" sz="4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fonica Sans Light" panose="02000003020000060003" pitchFamily="50" charset="0"/>
                <a:ea typeface="+mj-ea"/>
                <a:cs typeface="+mj-cs"/>
              </a:rPr>
              <a:t>uevo</a:t>
            </a:r>
            <a:r>
              <a:rPr kumimoji="0" lang="es-ES" sz="4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fonica Sans Light" panose="02000003020000060003" pitchFamily="50" charset="0"/>
                <a:ea typeface="+mj-ea"/>
                <a:cs typeface="+mj-cs"/>
              </a:rPr>
              <a:t> </a:t>
            </a:r>
            <a:r>
              <a:rPr lang="es-ES" sz="4400" kern="1200" dirty="0">
                <a:solidFill>
                  <a:srgbClr val="FFFFFF"/>
                </a:solidFill>
                <a:latin typeface="Telefonica Sans Light" panose="02000003020000060003" pitchFamily="50" charset="0"/>
                <a:ea typeface="+mj-ea"/>
                <a:cs typeface="+mj-cs"/>
              </a:rPr>
              <a:t>B</a:t>
            </a:r>
            <a:r>
              <a:rPr kumimoji="0" lang="es-ES" sz="4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fonica Sans Light" panose="02000003020000060003" pitchFamily="50" charset="0"/>
                <a:ea typeface="+mj-ea"/>
                <a:cs typeface="+mj-cs"/>
              </a:rPr>
              <a:t>ono</a:t>
            </a:r>
            <a:r>
              <a:rPr kumimoji="0" lang="es-ES" sz="4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fonica Sans Light" panose="02000003020000060003" pitchFamily="50" charset="0"/>
                <a:ea typeface="+mj-ea"/>
                <a:cs typeface="+mj-cs"/>
              </a:rPr>
              <a:t> para el impulso digital de </a:t>
            </a:r>
            <a:r>
              <a:rPr lang="es-ES" sz="4400" kern="1200" dirty="0">
                <a:solidFill>
                  <a:srgbClr val="FFFFFF"/>
                </a:solidFill>
                <a:latin typeface="Telefonica Sans DemiBold" panose="02000003020000060003" pitchFamily="50" charset="0"/>
                <a:ea typeface="+mj-ea"/>
                <a:cs typeface="+mj-cs"/>
              </a:rPr>
              <a:t>TUS ASOCIADOS</a:t>
            </a: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fonica Sans DemiBold" panose="02000003020000060003" pitchFamily="50" charset="0"/>
            </a:endParaRPr>
          </a:p>
        </p:txBody>
      </p:sp>
      <p:sp>
        <p:nvSpPr>
          <p:cNvPr id="16" name="Freeform 54">
            <a:extLst>
              <a:ext uri="{FF2B5EF4-FFF2-40B4-BE49-F238E27FC236}">
                <a16:creationId xmlns:a16="http://schemas.microsoft.com/office/drawing/2014/main" id="{88DBC745-E9CE-8AFF-C9E3-73C3251BBDE2}"/>
              </a:ext>
            </a:extLst>
          </p:cNvPr>
          <p:cNvSpPr>
            <a:spLocks noEditPoints="1"/>
          </p:cNvSpPr>
          <p:nvPr/>
        </p:nvSpPr>
        <p:spPr bwMode="auto">
          <a:xfrm>
            <a:off x="3030765" y="8496791"/>
            <a:ext cx="1092428" cy="1681140"/>
          </a:xfrm>
          <a:custGeom>
            <a:avLst/>
            <a:gdLst>
              <a:gd name="T0" fmla="*/ 108 w 244"/>
              <a:gd name="T1" fmla="*/ 90 h 489"/>
              <a:gd name="T2" fmla="*/ 151 w 244"/>
              <a:gd name="T3" fmla="*/ 82 h 489"/>
              <a:gd name="T4" fmla="*/ 151 w 244"/>
              <a:gd name="T5" fmla="*/ 10 h 489"/>
              <a:gd name="T6" fmla="*/ 108 w 244"/>
              <a:gd name="T7" fmla="*/ 2 h 489"/>
              <a:gd name="T8" fmla="*/ 77 w 244"/>
              <a:gd name="T9" fmla="*/ 32 h 489"/>
              <a:gd name="T10" fmla="*/ 77 w 244"/>
              <a:gd name="T11" fmla="*/ 60 h 489"/>
              <a:gd name="T12" fmla="*/ 242 w 244"/>
              <a:gd name="T13" fmla="*/ 274 h 489"/>
              <a:gd name="T14" fmla="*/ 241 w 244"/>
              <a:gd name="T15" fmla="*/ 271 h 489"/>
              <a:gd name="T16" fmla="*/ 233 w 244"/>
              <a:gd name="T17" fmla="*/ 245 h 489"/>
              <a:gd name="T18" fmla="*/ 229 w 244"/>
              <a:gd name="T19" fmla="*/ 233 h 489"/>
              <a:gd name="T20" fmla="*/ 216 w 244"/>
              <a:gd name="T21" fmla="*/ 195 h 489"/>
              <a:gd name="T22" fmla="*/ 204 w 244"/>
              <a:gd name="T23" fmla="*/ 160 h 489"/>
              <a:gd name="T24" fmla="*/ 196 w 244"/>
              <a:gd name="T25" fmla="*/ 138 h 489"/>
              <a:gd name="T26" fmla="*/ 190 w 244"/>
              <a:gd name="T27" fmla="*/ 126 h 489"/>
              <a:gd name="T28" fmla="*/ 177 w 244"/>
              <a:gd name="T29" fmla="*/ 114 h 489"/>
              <a:gd name="T30" fmla="*/ 149 w 244"/>
              <a:gd name="T31" fmla="*/ 105 h 489"/>
              <a:gd name="T32" fmla="*/ 122 w 244"/>
              <a:gd name="T33" fmla="*/ 103 h 489"/>
              <a:gd name="T34" fmla="*/ 83 w 244"/>
              <a:gd name="T35" fmla="*/ 107 h 489"/>
              <a:gd name="T36" fmla="*/ 47 w 244"/>
              <a:gd name="T37" fmla="*/ 138 h 489"/>
              <a:gd name="T38" fmla="*/ 39 w 244"/>
              <a:gd name="T39" fmla="*/ 160 h 489"/>
              <a:gd name="T40" fmla="*/ 25 w 244"/>
              <a:gd name="T41" fmla="*/ 200 h 489"/>
              <a:gd name="T42" fmla="*/ 16 w 244"/>
              <a:gd name="T43" fmla="*/ 228 h 489"/>
              <a:gd name="T44" fmla="*/ 7 w 244"/>
              <a:gd name="T45" fmla="*/ 256 h 489"/>
              <a:gd name="T46" fmla="*/ 2 w 244"/>
              <a:gd name="T47" fmla="*/ 270 h 489"/>
              <a:gd name="T48" fmla="*/ 1 w 244"/>
              <a:gd name="T49" fmla="*/ 274 h 489"/>
              <a:gd name="T50" fmla="*/ 10 w 244"/>
              <a:gd name="T51" fmla="*/ 293 h 489"/>
              <a:gd name="T52" fmla="*/ 16 w 244"/>
              <a:gd name="T53" fmla="*/ 295 h 489"/>
              <a:gd name="T54" fmla="*/ 35 w 244"/>
              <a:gd name="T55" fmla="*/ 286 h 489"/>
              <a:gd name="T56" fmla="*/ 68 w 244"/>
              <a:gd name="T57" fmla="*/ 240 h 489"/>
              <a:gd name="T58" fmla="*/ 68 w 244"/>
              <a:gd name="T59" fmla="*/ 271 h 489"/>
              <a:gd name="T60" fmla="*/ 67 w 244"/>
              <a:gd name="T61" fmla="*/ 303 h 489"/>
              <a:gd name="T62" fmla="*/ 65 w 244"/>
              <a:gd name="T63" fmla="*/ 365 h 489"/>
              <a:gd name="T64" fmla="*/ 63 w 244"/>
              <a:gd name="T65" fmla="*/ 446 h 489"/>
              <a:gd name="T66" fmla="*/ 62 w 244"/>
              <a:gd name="T67" fmla="*/ 469 h 489"/>
              <a:gd name="T68" fmla="*/ 63 w 244"/>
              <a:gd name="T69" fmla="*/ 474 h 489"/>
              <a:gd name="T70" fmla="*/ 70 w 244"/>
              <a:gd name="T71" fmla="*/ 483 h 489"/>
              <a:gd name="T72" fmla="*/ 85 w 244"/>
              <a:gd name="T73" fmla="*/ 489 h 489"/>
              <a:gd name="T74" fmla="*/ 96 w 244"/>
              <a:gd name="T75" fmla="*/ 486 h 489"/>
              <a:gd name="T76" fmla="*/ 105 w 244"/>
              <a:gd name="T77" fmla="*/ 478 h 489"/>
              <a:gd name="T78" fmla="*/ 122 w 244"/>
              <a:gd name="T79" fmla="*/ 345 h 489"/>
              <a:gd name="T80" fmla="*/ 137 w 244"/>
              <a:gd name="T81" fmla="*/ 474 h 489"/>
              <a:gd name="T82" fmla="*/ 147 w 244"/>
              <a:gd name="T83" fmla="*/ 486 h 489"/>
              <a:gd name="T84" fmla="*/ 158 w 244"/>
              <a:gd name="T85" fmla="*/ 489 h 489"/>
              <a:gd name="T86" fmla="*/ 181 w 244"/>
              <a:gd name="T87" fmla="*/ 470 h 489"/>
              <a:gd name="T88" fmla="*/ 181 w 244"/>
              <a:gd name="T89" fmla="*/ 468 h 489"/>
              <a:gd name="T90" fmla="*/ 180 w 244"/>
              <a:gd name="T91" fmla="*/ 440 h 489"/>
              <a:gd name="T92" fmla="*/ 177 w 244"/>
              <a:gd name="T93" fmla="*/ 345 h 489"/>
              <a:gd name="T94" fmla="*/ 176 w 244"/>
              <a:gd name="T95" fmla="*/ 303 h 489"/>
              <a:gd name="T96" fmla="*/ 174 w 244"/>
              <a:gd name="T97" fmla="*/ 212 h 489"/>
              <a:gd name="T98" fmla="*/ 212 w 244"/>
              <a:gd name="T99" fmla="*/ 292 h 489"/>
              <a:gd name="T100" fmla="*/ 227 w 244"/>
              <a:gd name="T101" fmla="*/ 295 h 489"/>
              <a:gd name="T102" fmla="*/ 242 w 244"/>
              <a:gd name="T103" fmla="*/ 274 h 4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44" h="489">
                <a:moveTo>
                  <a:pt x="81" y="68"/>
                </a:moveTo>
                <a:cubicBezTo>
                  <a:pt x="87" y="78"/>
                  <a:pt x="96" y="86"/>
                  <a:pt x="108" y="90"/>
                </a:cubicBezTo>
                <a:cubicBezTo>
                  <a:pt x="112" y="91"/>
                  <a:pt x="117" y="92"/>
                  <a:pt x="122" y="92"/>
                </a:cubicBezTo>
                <a:cubicBezTo>
                  <a:pt x="133" y="92"/>
                  <a:pt x="143" y="88"/>
                  <a:pt x="151" y="82"/>
                </a:cubicBezTo>
                <a:cubicBezTo>
                  <a:pt x="161" y="73"/>
                  <a:pt x="168" y="60"/>
                  <a:pt x="168" y="46"/>
                </a:cubicBezTo>
                <a:cubicBezTo>
                  <a:pt x="168" y="32"/>
                  <a:pt x="161" y="19"/>
                  <a:pt x="151" y="10"/>
                </a:cubicBezTo>
                <a:cubicBezTo>
                  <a:pt x="143" y="4"/>
                  <a:pt x="133" y="0"/>
                  <a:pt x="122" y="0"/>
                </a:cubicBezTo>
                <a:cubicBezTo>
                  <a:pt x="117" y="0"/>
                  <a:pt x="112" y="0"/>
                  <a:pt x="108" y="2"/>
                </a:cubicBezTo>
                <a:cubicBezTo>
                  <a:pt x="96" y="5"/>
                  <a:pt x="87" y="13"/>
                  <a:pt x="81" y="24"/>
                </a:cubicBezTo>
                <a:cubicBezTo>
                  <a:pt x="79" y="27"/>
                  <a:pt x="78" y="29"/>
                  <a:pt x="77" y="32"/>
                </a:cubicBezTo>
                <a:cubicBezTo>
                  <a:pt x="76" y="37"/>
                  <a:pt x="75" y="41"/>
                  <a:pt x="75" y="46"/>
                </a:cubicBezTo>
                <a:cubicBezTo>
                  <a:pt x="75" y="51"/>
                  <a:pt x="76" y="55"/>
                  <a:pt x="77" y="60"/>
                </a:cubicBezTo>
                <a:cubicBezTo>
                  <a:pt x="78" y="63"/>
                  <a:pt x="79" y="65"/>
                  <a:pt x="81" y="68"/>
                </a:cubicBezTo>
                <a:close/>
                <a:moveTo>
                  <a:pt x="242" y="274"/>
                </a:moveTo>
                <a:cubicBezTo>
                  <a:pt x="242" y="274"/>
                  <a:pt x="242" y="274"/>
                  <a:pt x="242" y="273"/>
                </a:cubicBezTo>
                <a:cubicBezTo>
                  <a:pt x="242" y="273"/>
                  <a:pt x="242" y="272"/>
                  <a:pt x="241" y="271"/>
                </a:cubicBezTo>
                <a:cubicBezTo>
                  <a:pt x="240" y="269"/>
                  <a:pt x="238" y="263"/>
                  <a:pt x="236" y="256"/>
                </a:cubicBezTo>
                <a:cubicBezTo>
                  <a:pt x="235" y="253"/>
                  <a:pt x="234" y="249"/>
                  <a:pt x="233" y="245"/>
                </a:cubicBezTo>
                <a:cubicBezTo>
                  <a:pt x="232" y="243"/>
                  <a:pt x="231" y="240"/>
                  <a:pt x="230" y="237"/>
                </a:cubicBezTo>
                <a:cubicBezTo>
                  <a:pt x="230" y="236"/>
                  <a:pt x="229" y="234"/>
                  <a:pt x="229" y="233"/>
                </a:cubicBezTo>
                <a:cubicBezTo>
                  <a:pt x="226" y="225"/>
                  <a:pt x="224" y="218"/>
                  <a:pt x="221" y="210"/>
                </a:cubicBezTo>
                <a:cubicBezTo>
                  <a:pt x="220" y="205"/>
                  <a:pt x="218" y="200"/>
                  <a:pt x="216" y="195"/>
                </a:cubicBezTo>
                <a:cubicBezTo>
                  <a:pt x="215" y="191"/>
                  <a:pt x="213" y="186"/>
                  <a:pt x="212" y="181"/>
                </a:cubicBezTo>
                <a:cubicBezTo>
                  <a:pt x="209" y="174"/>
                  <a:pt x="207" y="167"/>
                  <a:pt x="204" y="160"/>
                </a:cubicBezTo>
                <a:cubicBezTo>
                  <a:pt x="202" y="152"/>
                  <a:pt x="199" y="145"/>
                  <a:pt x="197" y="140"/>
                </a:cubicBezTo>
                <a:cubicBezTo>
                  <a:pt x="197" y="140"/>
                  <a:pt x="197" y="139"/>
                  <a:pt x="196" y="138"/>
                </a:cubicBezTo>
                <a:cubicBezTo>
                  <a:pt x="195" y="136"/>
                  <a:pt x="195" y="134"/>
                  <a:pt x="194" y="133"/>
                </a:cubicBezTo>
                <a:cubicBezTo>
                  <a:pt x="193" y="130"/>
                  <a:pt x="191" y="128"/>
                  <a:pt x="190" y="126"/>
                </a:cubicBezTo>
                <a:cubicBezTo>
                  <a:pt x="188" y="123"/>
                  <a:pt x="186" y="121"/>
                  <a:pt x="184" y="119"/>
                </a:cubicBezTo>
                <a:cubicBezTo>
                  <a:pt x="182" y="117"/>
                  <a:pt x="180" y="116"/>
                  <a:pt x="177" y="114"/>
                </a:cubicBezTo>
                <a:cubicBezTo>
                  <a:pt x="174" y="112"/>
                  <a:pt x="170" y="110"/>
                  <a:pt x="165" y="108"/>
                </a:cubicBezTo>
                <a:cubicBezTo>
                  <a:pt x="160" y="107"/>
                  <a:pt x="155" y="106"/>
                  <a:pt x="149" y="105"/>
                </a:cubicBezTo>
                <a:cubicBezTo>
                  <a:pt x="147" y="105"/>
                  <a:pt x="145" y="104"/>
                  <a:pt x="143" y="104"/>
                </a:cubicBezTo>
                <a:cubicBezTo>
                  <a:pt x="136" y="103"/>
                  <a:pt x="129" y="103"/>
                  <a:pt x="122" y="103"/>
                </a:cubicBezTo>
                <a:cubicBezTo>
                  <a:pt x="109" y="103"/>
                  <a:pt x="98" y="104"/>
                  <a:pt x="89" y="106"/>
                </a:cubicBezTo>
                <a:cubicBezTo>
                  <a:pt x="87" y="106"/>
                  <a:pt x="85" y="107"/>
                  <a:pt x="83" y="107"/>
                </a:cubicBezTo>
                <a:cubicBezTo>
                  <a:pt x="66" y="111"/>
                  <a:pt x="55" y="120"/>
                  <a:pt x="49" y="133"/>
                </a:cubicBezTo>
                <a:cubicBezTo>
                  <a:pt x="48" y="134"/>
                  <a:pt x="48" y="136"/>
                  <a:pt x="47" y="138"/>
                </a:cubicBezTo>
                <a:cubicBezTo>
                  <a:pt x="45" y="142"/>
                  <a:pt x="43" y="147"/>
                  <a:pt x="41" y="153"/>
                </a:cubicBezTo>
                <a:cubicBezTo>
                  <a:pt x="41" y="155"/>
                  <a:pt x="40" y="157"/>
                  <a:pt x="39" y="160"/>
                </a:cubicBezTo>
                <a:cubicBezTo>
                  <a:pt x="36" y="168"/>
                  <a:pt x="33" y="177"/>
                  <a:pt x="30" y="186"/>
                </a:cubicBezTo>
                <a:cubicBezTo>
                  <a:pt x="28" y="191"/>
                  <a:pt x="27" y="195"/>
                  <a:pt x="25" y="200"/>
                </a:cubicBezTo>
                <a:cubicBezTo>
                  <a:pt x="24" y="203"/>
                  <a:pt x="23" y="206"/>
                  <a:pt x="22" y="210"/>
                </a:cubicBezTo>
                <a:cubicBezTo>
                  <a:pt x="20" y="216"/>
                  <a:pt x="18" y="222"/>
                  <a:pt x="16" y="228"/>
                </a:cubicBezTo>
                <a:cubicBezTo>
                  <a:pt x="15" y="231"/>
                  <a:pt x="14" y="234"/>
                  <a:pt x="13" y="237"/>
                </a:cubicBezTo>
                <a:cubicBezTo>
                  <a:pt x="11" y="244"/>
                  <a:pt x="9" y="251"/>
                  <a:pt x="7" y="256"/>
                </a:cubicBezTo>
                <a:cubicBezTo>
                  <a:pt x="6" y="257"/>
                  <a:pt x="6" y="258"/>
                  <a:pt x="6" y="259"/>
                </a:cubicBezTo>
                <a:cubicBezTo>
                  <a:pt x="4" y="264"/>
                  <a:pt x="3" y="267"/>
                  <a:pt x="2" y="270"/>
                </a:cubicBezTo>
                <a:cubicBezTo>
                  <a:pt x="2" y="272"/>
                  <a:pt x="1" y="273"/>
                  <a:pt x="1" y="273"/>
                </a:cubicBezTo>
                <a:cubicBezTo>
                  <a:pt x="1" y="274"/>
                  <a:pt x="1" y="274"/>
                  <a:pt x="1" y="274"/>
                </a:cubicBezTo>
                <a:cubicBezTo>
                  <a:pt x="0" y="277"/>
                  <a:pt x="0" y="280"/>
                  <a:pt x="2" y="283"/>
                </a:cubicBezTo>
                <a:cubicBezTo>
                  <a:pt x="3" y="287"/>
                  <a:pt x="6" y="291"/>
                  <a:pt x="10" y="293"/>
                </a:cubicBezTo>
                <a:cubicBezTo>
                  <a:pt x="11" y="294"/>
                  <a:pt x="12" y="294"/>
                  <a:pt x="13" y="295"/>
                </a:cubicBezTo>
                <a:cubicBezTo>
                  <a:pt x="14" y="295"/>
                  <a:pt x="15" y="295"/>
                  <a:pt x="16" y="295"/>
                </a:cubicBezTo>
                <a:cubicBezTo>
                  <a:pt x="17" y="296"/>
                  <a:pt x="18" y="296"/>
                  <a:pt x="20" y="296"/>
                </a:cubicBezTo>
                <a:cubicBezTo>
                  <a:pt x="27" y="296"/>
                  <a:pt x="33" y="292"/>
                  <a:pt x="35" y="286"/>
                </a:cubicBezTo>
                <a:cubicBezTo>
                  <a:pt x="69" y="212"/>
                  <a:pt x="69" y="212"/>
                  <a:pt x="69" y="212"/>
                </a:cubicBezTo>
                <a:cubicBezTo>
                  <a:pt x="69" y="221"/>
                  <a:pt x="69" y="230"/>
                  <a:pt x="68" y="240"/>
                </a:cubicBezTo>
                <a:cubicBezTo>
                  <a:pt x="68" y="247"/>
                  <a:pt x="68" y="254"/>
                  <a:pt x="68" y="261"/>
                </a:cubicBezTo>
                <a:cubicBezTo>
                  <a:pt x="68" y="264"/>
                  <a:pt x="68" y="268"/>
                  <a:pt x="68" y="271"/>
                </a:cubicBezTo>
                <a:cubicBezTo>
                  <a:pt x="67" y="278"/>
                  <a:pt x="67" y="285"/>
                  <a:pt x="67" y="292"/>
                </a:cubicBezTo>
                <a:cubicBezTo>
                  <a:pt x="67" y="296"/>
                  <a:pt x="67" y="299"/>
                  <a:pt x="67" y="303"/>
                </a:cubicBezTo>
                <a:cubicBezTo>
                  <a:pt x="66" y="317"/>
                  <a:pt x="66" y="331"/>
                  <a:pt x="66" y="345"/>
                </a:cubicBezTo>
                <a:cubicBezTo>
                  <a:pt x="66" y="352"/>
                  <a:pt x="65" y="358"/>
                  <a:pt x="65" y="365"/>
                </a:cubicBezTo>
                <a:cubicBezTo>
                  <a:pt x="65" y="385"/>
                  <a:pt x="64" y="403"/>
                  <a:pt x="64" y="419"/>
                </a:cubicBezTo>
                <a:cubicBezTo>
                  <a:pt x="64" y="429"/>
                  <a:pt x="63" y="438"/>
                  <a:pt x="63" y="446"/>
                </a:cubicBezTo>
                <a:cubicBezTo>
                  <a:pt x="63" y="448"/>
                  <a:pt x="63" y="450"/>
                  <a:pt x="63" y="451"/>
                </a:cubicBezTo>
                <a:cubicBezTo>
                  <a:pt x="63" y="462"/>
                  <a:pt x="63" y="468"/>
                  <a:pt x="62" y="469"/>
                </a:cubicBezTo>
                <a:cubicBezTo>
                  <a:pt x="62" y="470"/>
                  <a:pt x="62" y="470"/>
                  <a:pt x="62" y="470"/>
                </a:cubicBezTo>
                <a:cubicBezTo>
                  <a:pt x="63" y="471"/>
                  <a:pt x="63" y="473"/>
                  <a:pt x="63" y="474"/>
                </a:cubicBezTo>
                <a:cubicBezTo>
                  <a:pt x="64" y="475"/>
                  <a:pt x="64" y="476"/>
                  <a:pt x="65" y="478"/>
                </a:cubicBezTo>
                <a:cubicBezTo>
                  <a:pt x="66" y="480"/>
                  <a:pt x="68" y="482"/>
                  <a:pt x="70" y="483"/>
                </a:cubicBezTo>
                <a:cubicBezTo>
                  <a:pt x="71" y="484"/>
                  <a:pt x="72" y="485"/>
                  <a:pt x="73" y="486"/>
                </a:cubicBezTo>
                <a:cubicBezTo>
                  <a:pt x="76" y="488"/>
                  <a:pt x="80" y="489"/>
                  <a:pt x="85" y="489"/>
                </a:cubicBezTo>
                <a:cubicBezTo>
                  <a:pt x="86" y="489"/>
                  <a:pt x="88" y="489"/>
                  <a:pt x="89" y="489"/>
                </a:cubicBezTo>
                <a:cubicBezTo>
                  <a:pt x="92" y="488"/>
                  <a:pt x="94" y="487"/>
                  <a:pt x="96" y="486"/>
                </a:cubicBezTo>
                <a:cubicBezTo>
                  <a:pt x="99" y="484"/>
                  <a:pt x="101" y="483"/>
                  <a:pt x="102" y="481"/>
                </a:cubicBezTo>
                <a:cubicBezTo>
                  <a:pt x="103" y="480"/>
                  <a:pt x="104" y="479"/>
                  <a:pt x="105" y="478"/>
                </a:cubicBezTo>
                <a:cubicBezTo>
                  <a:pt x="106" y="475"/>
                  <a:pt x="107" y="473"/>
                  <a:pt x="107" y="470"/>
                </a:cubicBezTo>
                <a:cubicBezTo>
                  <a:pt x="122" y="345"/>
                  <a:pt x="122" y="345"/>
                  <a:pt x="122" y="345"/>
                </a:cubicBezTo>
                <a:cubicBezTo>
                  <a:pt x="136" y="470"/>
                  <a:pt x="136" y="470"/>
                  <a:pt x="136" y="470"/>
                </a:cubicBezTo>
                <a:cubicBezTo>
                  <a:pt x="136" y="472"/>
                  <a:pt x="137" y="473"/>
                  <a:pt x="137" y="474"/>
                </a:cubicBezTo>
                <a:cubicBezTo>
                  <a:pt x="138" y="478"/>
                  <a:pt x="140" y="481"/>
                  <a:pt x="143" y="484"/>
                </a:cubicBezTo>
                <a:cubicBezTo>
                  <a:pt x="144" y="484"/>
                  <a:pt x="145" y="485"/>
                  <a:pt x="147" y="486"/>
                </a:cubicBezTo>
                <a:cubicBezTo>
                  <a:pt x="150" y="488"/>
                  <a:pt x="154" y="489"/>
                  <a:pt x="158" y="489"/>
                </a:cubicBezTo>
                <a:cubicBezTo>
                  <a:pt x="158" y="489"/>
                  <a:pt x="158" y="489"/>
                  <a:pt x="158" y="489"/>
                </a:cubicBezTo>
                <a:cubicBezTo>
                  <a:pt x="160" y="489"/>
                  <a:pt x="161" y="489"/>
                  <a:pt x="163" y="489"/>
                </a:cubicBezTo>
                <a:cubicBezTo>
                  <a:pt x="172" y="487"/>
                  <a:pt x="180" y="479"/>
                  <a:pt x="181" y="470"/>
                </a:cubicBezTo>
                <a:cubicBezTo>
                  <a:pt x="181" y="470"/>
                  <a:pt x="181" y="470"/>
                  <a:pt x="181" y="469"/>
                </a:cubicBezTo>
                <a:cubicBezTo>
                  <a:pt x="181" y="469"/>
                  <a:pt x="181" y="469"/>
                  <a:pt x="181" y="468"/>
                </a:cubicBezTo>
                <a:cubicBezTo>
                  <a:pt x="181" y="468"/>
                  <a:pt x="180" y="467"/>
                  <a:pt x="180" y="466"/>
                </a:cubicBezTo>
                <a:cubicBezTo>
                  <a:pt x="180" y="462"/>
                  <a:pt x="180" y="453"/>
                  <a:pt x="180" y="440"/>
                </a:cubicBezTo>
                <a:cubicBezTo>
                  <a:pt x="180" y="434"/>
                  <a:pt x="179" y="427"/>
                  <a:pt x="179" y="419"/>
                </a:cubicBezTo>
                <a:cubicBezTo>
                  <a:pt x="179" y="398"/>
                  <a:pt x="178" y="372"/>
                  <a:pt x="177" y="345"/>
                </a:cubicBezTo>
                <a:cubicBezTo>
                  <a:pt x="177" y="341"/>
                  <a:pt x="177" y="338"/>
                  <a:pt x="177" y="334"/>
                </a:cubicBezTo>
                <a:cubicBezTo>
                  <a:pt x="177" y="324"/>
                  <a:pt x="177" y="313"/>
                  <a:pt x="176" y="303"/>
                </a:cubicBezTo>
                <a:cubicBezTo>
                  <a:pt x="176" y="299"/>
                  <a:pt x="176" y="296"/>
                  <a:pt x="176" y="292"/>
                </a:cubicBezTo>
                <a:cubicBezTo>
                  <a:pt x="175" y="264"/>
                  <a:pt x="175" y="236"/>
                  <a:pt x="174" y="212"/>
                </a:cubicBezTo>
                <a:cubicBezTo>
                  <a:pt x="208" y="286"/>
                  <a:pt x="208" y="286"/>
                  <a:pt x="208" y="286"/>
                </a:cubicBezTo>
                <a:cubicBezTo>
                  <a:pt x="209" y="288"/>
                  <a:pt x="210" y="290"/>
                  <a:pt x="212" y="292"/>
                </a:cubicBezTo>
                <a:cubicBezTo>
                  <a:pt x="215" y="294"/>
                  <a:pt x="219" y="296"/>
                  <a:pt x="224" y="296"/>
                </a:cubicBezTo>
                <a:cubicBezTo>
                  <a:pt x="225" y="296"/>
                  <a:pt x="226" y="296"/>
                  <a:pt x="227" y="295"/>
                </a:cubicBezTo>
                <a:cubicBezTo>
                  <a:pt x="228" y="295"/>
                  <a:pt x="229" y="295"/>
                  <a:pt x="230" y="295"/>
                </a:cubicBezTo>
                <a:cubicBezTo>
                  <a:pt x="239" y="291"/>
                  <a:pt x="244" y="282"/>
                  <a:pt x="242" y="274"/>
                </a:cubicBezTo>
                <a:close/>
              </a:path>
            </a:pathLst>
          </a:custGeom>
          <a:solidFill>
            <a:srgbClr val="0066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rgbClr val="586179"/>
              </a:solidFill>
              <a:latin typeface="Arial" panose="020B0604020202020204"/>
            </a:endParaRPr>
          </a:p>
        </p:txBody>
      </p:sp>
      <p:pic>
        <p:nvPicPr>
          <p:cNvPr id="24" name="Gráfico 23" descr="Monedas con relleno sólido">
            <a:extLst>
              <a:ext uri="{FF2B5EF4-FFF2-40B4-BE49-F238E27FC236}">
                <a16:creationId xmlns:a16="http://schemas.microsoft.com/office/drawing/2014/main" id="{FF5BB7D6-486D-CCA7-D3A7-B963B664D84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79164" y="8523550"/>
            <a:ext cx="1738738" cy="1738738"/>
          </a:xfrm>
          <a:prstGeom prst="rect">
            <a:avLst/>
          </a:prstGeom>
        </p:spPr>
      </p:pic>
      <p:pic>
        <p:nvPicPr>
          <p:cNvPr id="29" name="Gráfico 28" descr="Internet contorno">
            <a:extLst>
              <a:ext uri="{FF2B5EF4-FFF2-40B4-BE49-F238E27FC236}">
                <a16:creationId xmlns:a16="http://schemas.microsoft.com/office/drawing/2014/main" id="{2BE7C47F-FE86-733A-1983-76AF3633785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075579" y="8052142"/>
            <a:ext cx="2292350" cy="2292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6477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>
            <a:extLst>
              <a:ext uri="{FF2B5EF4-FFF2-40B4-BE49-F238E27FC236}">
                <a16:creationId xmlns:a16="http://schemas.microsoft.com/office/drawing/2014/main" id="{64EF07B6-1076-403F-BD37-4A620C93B52D}"/>
              </a:ext>
            </a:extLst>
          </p:cNvPr>
          <p:cNvSpPr txBox="1"/>
          <p:nvPr/>
        </p:nvSpPr>
        <p:spPr>
          <a:xfrm>
            <a:off x="4026606" y="1464332"/>
            <a:ext cx="125925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 rtl="0"/>
            <a:r>
              <a:rPr lang="es-ES" sz="2400" kern="1200">
                <a:solidFill>
                  <a:srgbClr val="586179"/>
                </a:solidFill>
                <a:latin typeface="Telefonica Sans Light" panose="02000003020000060003" pitchFamily="50" charset="0"/>
                <a:ea typeface="+mn-ea"/>
                <a:cs typeface="+mn-cs"/>
              </a:rPr>
              <a:t>Acompaña a tu asociado en el test de diagnóstico digital: </a:t>
            </a:r>
            <a:r>
              <a:rPr lang="es-ES" sz="2400" kern="1200">
                <a:solidFill>
                  <a:srgbClr val="000000"/>
                </a:solidFill>
                <a:latin typeface="Arial" panose="020B0604020202020204"/>
                <a:ea typeface="+mn-ea"/>
                <a:cs typeface="+mn-cs"/>
                <a:hlinkClick r:id="rId2"/>
              </a:rPr>
              <a:t>https://www.acelerapyme.gob.es/</a:t>
            </a:r>
            <a:r>
              <a:rPr lang="es-ES" sz="2400" kern="1200">
                <a:solidFill>
                  <a:srgbClr val="000000"/>
                </a:solidFill>
                <a:latin typeface="Arial" panose="020B0604020202020204"/>
                <a:ea typeface="+mn-ea"/>
                <a:cs typeface="+mn-cs"/>
              </a:rPr>
              <a:t> </a:t>
            </a:r>
            <a:endParaRPr lang="es-ES" sz="2400" kern="1200">
              <a:solidFill>
                <a:srgbClr val="586179"/>
              </a:solidFill>
              <a:latin typeface="Telefonica Sans Light" panose="02000003020000060003" pitchFamily="50" charset="0"/>
              <a:ea typeface="+mn-ea"/>
              <a:cs typeface="+mn-cs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559571ED-5D3A-E204-0A3D-42EC35277F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1577" y="256873"/>
            <a:ext cx="1919110" cy="2030364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0ECBED8B-85C5-AF92-170A-5D07CC9FC6FE}"/>
              </a:ext>
            </a:extLst>
          </p:cNvPr>
          <p:cNvSpPr txBox="1"/>
          <p:nvPr/>
        </p:nvSpPr>
        <p:spPr>
          <a:xfrm>
            <a:off x="3559107" y="409607"/>
            <a:ext cx="7026343" cy="11073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34027" indent="-1034027" algn="l" defTabSz="1507846" rtl="0"/>
            <a:r>
              <a:rPr lang="es-ES" sz="6596" kern="1200">
                <a:solidFill>
                  <a:srgbClr val="0066FF"/>
                </a:solidFill>
                <a:latin typeface="Telefonica Sans Medium" panose="02000003020000060003" pitchFamily="50" charset="0"/>
                <a:ea typeface="+mn-ea"/>
                <a:cs typeface="+mn-cs"/>
              </a:rPr>
              <a:t>2. </a:t>
            </a:r>
            <a:r>
              <a:rPr lang="es-ES" sz="2800" kern="1200">
                <a:solidFill>
                  <a:srgbClr val="0066FF"/>
                </a:solidFill>
                <a:latin typeface="Telefonica Sans Medium" panose="02000003020000060003" pitchFamily="50" charset="0"/>
                <a:ea typeface="+mn-ea"/>
                <a:cs typeface="+mn-cs"/>
              </a:rPr>
              <a:t>Test Diagnóstico Digital (Kit Digital)</a:t>
            </a:r>
            <a:endParaRPr lang="es-ES" sz="2309" kern="1200">
              <a:solidFill>
                <a:srgbClr val="0066FF"/>
              </a:solidFill>
              <a:latin typeface="Telefonica Sans Medium" panose="02000003020000060003" pitchFamily="50" charset="0"/>
              <a:ea typeface="+mn-ea"/>
              <a:cs typeface="+mn-cs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8D6ACC9A-331F-D45A-490C-9F08C62652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7377798" y="1395576"/>
            <a:ext cx="7596296" cy="2200072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A1AB0070-EA4C-ECFF-7FEC-BD7ABB4B4F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7505424" y="3656952"/>
            <a:ext cx="7519951" cy="2067309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21E4C320-2215-8CF6-87AB-1B6B9ED5E7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7486339" y="5846871"/>
            <a:ext cx="7481779" cy="2247487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28CB1F21-CC09-0185-AEC8-A1E1768A453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7505424" y="8094358"/>
            <a:ext cx="7443607" cy="2313868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BCFA7551-C8E1-19B7-72AC-8BB678B6BA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17562681" y="10341847"/>
            <a:ext cx="7405434" cy="1801782"/>
          </a:xfrm>
          <a:prstGeom prst="rect">
            <a:avLst/>
          </a:prstGeom>
        </p:spPr>
      </p:pic>
      <p:pic>
        <p:nvPicPr>
          <p:cNvPr id="43" name="Imagen 42">
            <a:extLst>
              <a:ext uri="{FF2B5EF4-FFF2-40B4-BE49-F238E27FC236}">
                <a16:creationId xmlns:a16="http://schemas.microsoft.com/office/drawing/2014/main" id="{70723C3F-2744-6EF9-69C5-3278280EF49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2424" y="2494085"/>
            <a:ext cx="6194647" cy="8555657"/>
          </a:xfrm>
          <a:prstGeom prst="rect">
            <a:avLst/>
          </a:prstGeom>
        </p:spPr>
      </p:pic>
      <p:pic>
        <p:nvPicPr>
          <p:cNvPr id="44" name="Imagen 43">
            <a:extLst>
              <a:ext uri="{FF2B5EF4-FFF2-40B4-BE49-F238E27FC236}">
                <a16:creationId xmlns:a16="http://schemas.microsoft.com/office/drawing/2014/main" id="{ED15FF8E-AE78-810B-85C8-76EE53D2629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32233" y="2494086"/>
            <a:ext cx="5937894" cy="8620769"/>
          </a:xfrm>
          <a:prstGeom prst="rect">
            <a:avLst/>
          </a:prstGeom>
        </p:spPr>
      </p:pic>
      <p:pic>
        <p:nvPicPr>
          <p:cNvPr id="45" name="Imagen 44">
            <a:extLst>
              <a:ext uri="{FF2B5EF4-FFF2-40B4-BE49-F238E27FC236}">
                <a16:creationId xmlns:a16="http://schemas.microsoft.com/office/drawing/2014/main" id="{6D4BF347-1592-4EA7-D735-9A314B45F24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2368361" y="2494086"/>
            <a:ext cx="7389297" cy="8057435"/>
          </a:xfrm>
          <a:prstGeom prst="rect">
            <a:avLst/>
          </a:prstGeom>
        </p:spPr>
      </p:pic>
      <p:sp>
        <p:nvSpPr>
          <p:cNvPr id="46" name="CuadroTexto 45">
            <a:extLst>
              <a:ext uri="{FF2B5EF4-FFF2-40B4-BE49-F238E27FC236}">
                <a16:creationId xmlns:a16="http://schemas.microsoft.com/office/drawing/2014/main" id="{6DF78652-279A-717D-0A93-7A75E21E9E3C}"/>
              </a:ext>
            </a:extLst>
          </p:cNvPr>
          <p:cNvSpPr txBox="1"/>
          <p:nvPr/>
        </p:nvSpPr>
        <p:spPr>
          <a:xfrm>
            <a:off x="15157450" y="614961"/>
            <a:ext cx="3858749" cy="4476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507846" rtl="0"/>
            <a:r>
              <a:rPr lang="es-ES" sz="2309" kern="1200">
                <a:solidFill>
                  <a:srgbClr val="0066FF"/>
                </a:solidFill>
                <a:latin typeface="Telefonica Sans Medium" panose="02000003020000060003" pitchFamily="50" charset="0"/>
                <a:ea typeface="+mn-ea"/>
                <a:cs typeface="+mn-cs"/>
              </a:rPr>
              <a:t>Completar las 13 preguntas</a:t>
            </a:r>
          </a:p>
        </p:txBody>
      </p:sp>
      <p:cxnSp>
        <p:nvCxnSpPr>
          <p:cNvPr id="47" name="Conector recto 46">
            <a:extLst>
              <a:ext uri="{FF2B5EF4-FFF2-40B4-BE49-F238E27FC236}">
                <a16:creationId xmlns:a16="http://schemas.microsoft.com/office/drawing/2014/main" id="{F2FE2698-9C33-347B-7A94-9E4434FE6D48}"/>
              </a:ext>
            </a:extLst>
          </p:cNvPr>
          <p:cNvCxnSpPr>
            <a:cxnSpLocks/>
          </p:cNvCxnSpPr>
          <p:nvPr/>
        </p:nvCxnSpPr>
        <p:spPr>
          <a:xfrm>
            <a:off x="15026650" y="1039939"/>
            <a:ext cx="3636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uadroTexto 47">
            <a:extLst>
              <a:ext uri="{FF2B5EF4-FFF2-40B4-BE49-F238E27FC236}">
                <a16:creationId xmlns:a16="http://schemas.microsoft.com/office/drawing/2014/main" id="{3E465CAE-C6FC-23EA-9906-EDA5625183F5}"/>
              </a:ext>
            </a:extLst>
          </p:cNvPr>
          <p:cNvSpPr txBox="1"/>
          <p:nvPr/>
        </p:nvSpPr>
        <p:spPr>
          <a:xfrm>
            <a:off x="18736571" y="1039939"/>
            <a:ext cx="877163" cy="37151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1507846" rtl="0"/>
            <a:r>
              <a:rPr lang="es-ES" sz="1814" kern="1200">
                <a:solidFill>
                  <a:srgbClr val="0066FF"/>
                </a:solidFill>
                <a:latin typeface="Telefonica Sans Medium" panose="02000003020000060003" pitchFamily="50" charset="0"/>
                <a:ea typeface="+mn-ea"/>
                <a:cs typeface="+mn-cs"/>
              </a:rPr>
              <a:t>10 Min</a:t>
            </a:r>
          </a:p>
        </p:txBody>
      </p:sp>
      <p:pic>
        <p:nvPicPr>
          <p:cNvPr id="51" name="Gráfico 50" descr="Reloj con relleno sólido">
            <a:extLst>
              <a:ext uri="{FF2B5EF4-FFF2-40B4-BE49-F238E27FC236}">
                <a16:creationId xmlns:a16="http://schemas.microsoft.com/office/drawing/2014/main" id="{B535B46A-0C2F-6754-89CD-92C6B8ABC7A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858143" y="362024"/>
            <a:ext cx="753904" cy="753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5077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>
            <a:extLst>
              <a:ext uri="{FF2B5EF4-FFF2-40B4-BE49-F238E27FC236}">
                <a16:creationId xmlns:a16="http://schemas.microsoft.com/office/drawing/2014/main" id="{C744F8C2-6A2E-054D-C9BE-CA92CE24A45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-1"/>
            <a:ext cx="20104100" cy="2520000"/>
          </a:xfrm>
          <a:prstGeom prst="rect">
            <a:avLst/>
          </a:prstGeom>
          <a:solidFill>
            <a:srgbClr val="0066FF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C2C6EF88-A268-AC5B-D081-C053D06A2488}"/>
              </a:ext>
            </a:extLst>
          </p:cNvPr>
          <p:cNvSpPr txBox="1"/>
          <p:nvPr/>
        </p:nvSpPr>
        <p:spPr>
          <a:xfrm>
            <a:off x="0" y="28892"/>
            <a:ext cx="20104100" cy="246221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fonica Sans Light" panose="02000003020000060003" pitchFamily="50" charset="0"/>
                <a:ea typeface="+mj-ea"/>
                <a:cs typeface="+mj-cs"/>
              </a:rPr>
              <a:t>En </a:t>
            </a:r>
            <a:r>
              <a:rPr kumimoji="0" lang="es-ES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fonica Sans semibold"/>
                <a:ea typeface="+mj-ea"/>
                <a:cs typeface="+mj-cs"/>
              </a:rPr>
              <a:t>TELEFONICA EMPRESAS </a:t>
            </a:r>
            <a:endParaRPr kumimoji="0" lang="es-ES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fonica Sans semibold"/>
              <a:ea typeface="+mj-ea"/>
              <a:cs typeface="+mj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fonica Sans Light" panose="02000003020000060003" pitchFamily="50" charset="0"/>
                <a:ea typeface="+mj-ea"/>
                <a:cs typeface="+mj-cs"/>
              </a:rPr>
              <a:t>te ayudamos para que tus asociados puedan beneficiarse del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1050" kern="1200" dirty="0">
              <a:solidFill>
                <a:srgbClr val="FFFFFF"/>
              </a:solidFill>
              <a:latin typeface="Telefonica Sans DemiBold" panose="02000003020000060003" pitchFamily="50" charset="0"/>
              <a:ea typeface="+mj-ea"/>
              <a:cs typeface="+mj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4400" kern="1200" dirty="0">
                <a:solidFill>
                  <a:srgbClr val="FFFFFF"/>
                </a:solidFill>
                <a:latin typeface="Telefonica Sans DemiBold" panose="02000003020000060003" pitchFamily="50" charset="0"/>
                <a:ea typeface="+mj-ea"/>
                <a:cs typeface="+mj-cs"/>
              </a:rPr>
              <a:t>BONO KIT DIGITAL</a:t>
            </a:r>
          </a:p>
        </p:txBody>
      </p:sp>
      <p:grpSp>
        <p:nvGrpSpPr>
          <p:cNvPr id="193" name="Grupo 192">
            <a:extLst>
              <a:ext uri="{FF2B5EF4-FFF2-40B4-BE49-F238E27FC236}">
                <a16:creationId xmlns:a16="http://schemas.microsoft.com/office/drawing/2014/main" id="{A3EBE31D-867D-67D2-2FC9-9D497CD082C5}"/>
              </a:ext>
            </a:extLst>
          </p:cNvPr>
          <p:cNvGrpSpPr/>
          <p:nvPr/>
        </p:nvGrpSpPr>
        <p:grpSpPr>
          <a:xfrm>
            <a:off x="1148634" y="4439530"/>
            <a:ext cx="11266690" cy="1177859"/>
            <a:chOff x="691435" y="4417757"/>
            <a:chExt cx="11266690" cy="1177859"/>
          </a:xfrm>
        </p:grpSpPr>
        <p:sp>
          <p:nvSpPr>
            <p:cNvPr id="18" name="object 4">
              <a:extLst>
                <a:ext uri="{FF2B5EF4-FFF2-40B4-BE49-F238E27FC236}">
                  <a16:creationId xmlns:a16="http://schemas.microsoft.com/office/drawing/2014/main" id="{4BC2D216-1FB3-5436-FDA0-07E23F65E90B}"/>
                </a:ext>
              </a:extLst>
            </p:cNvPr>
            <p:cNvSpPr txBox="1"/>
            <p:nvPr/>
          </p:nvSpPr>
          <p:spPr>
            <a:xfrm>
              <a:off x="2400762" y="4800269"/>
              <a:ext cx="9557363" cy="452034"/>
            </a:xfrm>
            <a:prstGeom prst="rect">
              <a:avLst/>
            </a:prstGeom>
          </p:spPr>
          <p:txBody>
            <a:bodyPr vert="horz" wrap="square" lIns="0" tIns="20942" rIns="0" bIns="0" rtlCol="0">
              <a:spAutoFit/>
            </a:bodyPr>
            <a:lstStyle/>
            <a:p>
              <a:pPr marL="0" marR="0" lvl="0" indent="0" algn="l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800" b="1" i="0" u="none" strike="noStrike" kern="1200" cap="none" spc="-8" normalizeH="0" baseline="0" noProof="0">
                  <a:ln>
                    <a:noFill/>
                  </a:ln>
                  <a:solidFill>
                    <a:srgbClr val="414A60"/>
                  </a:solidFill>
                  <a:effectLst/>
                  <a:uLnTx/>
                  <a:uFillTx/>
                  <a:latin typeface="Telefonica" panose="00000500000000000000" pitchFamily="2" charset="0"/>
                  <a:ea typeface="+mn-ea"/>
                  <a:cs typeface="+mn-cs"/>
                </a:rPr>
                <a:t>Tramitación</a:t>
              </a:r>
              <a:r>
                <a:rPr kumimoji="0" lang="es-ES" sz="2638" b="1" i="0" u="none" strike="noStrike" kern="1200" cap="none" spc="-8" normalizeH="0" baseline="0" noProof="0">
                  <a:ln>
                    <a:noFill/>
                  </a:ln>
                  <a:solidFill>
                    <a:srgbClr val="414A60"/>
                  </a:solidFill>
                  <a:effectLst/>
                  <a:uLnTx/>
                  <a:uFillTx/>
                  <a:latin typeface="Telefonica" panose="00000500000000000000" pitchFamily="2" charset="0"/>
                  <a:ea typeface="+mn-ea"/>
                  <a:cs typeface="+mn-cs"/>
                </a:rPr>
                <a:t> y gestión </a:t>
              </a:r>
              <a:r>
                <a:rPr kumimoji="0" lang="es-ES" sz="2638" b="0" i="0" u="none" strike="noStrike" kern="1200" cap="none" spc="-8" normalizeH="0" baseline="0" noProof="0">
                  <a:ln>
                    <a:noFill/>
                  </a:ln>
                  <a:solidFill>
                    <a:srgbClr val="414A60"/>
                  </a:solidFill>
                  <a:effectLst/>
                  <a:uLnTx/>
                  <a:uFillTx/>
                  <a:latin typeface="Telefonica" panose="00000500000000000000" pitchFamily="2" charset="0"/>
                  <a:ea typeface="+mn-ea"/>
                  <a:cs typeface="+mn-cs"/>
                </a:rPr>
                <a:t>del Bono Digital</a:t>
              </a:r>
              <a:endParaRPr kumimoji="0" lang="es-ES" sz="2638" b="0" i="0" u="none" strike="noStrike" kern="1200" cap="none" spc="132" normalizeH="0" baseline="0" noProof="0">
                <a:ln>
                  <a:noFill/>
                </a:ln>
                <a:solidFill>
                  <a:srgbClr val="414A60"/>
                </a:solidFill>
                <a:effectLst/>
                <a:uLnTx/>
                <a:uFillTx/>
                <a:latin typeface="Telefonica" panose="00000500000000000000" pitchFamily="2" charset="0"/>
                <a:ea typeface="+mn-ea"/>
                <a:cs typeface="+mn-cs"/>
              </a:endParaRPr>
            </a:p>
          </p:txBody>
        </p:sp>
        <p:grpSp>
          <p:nvGrpSpPr>
            <p:cNvPr id="66" name="Grupo 65">
              <a:extLst>
                <a:ext uri="{FF2B5EF4-FFF2-40B4-BE49-F238E27FC236}">
                  <a16:creationId xmlns:a16="http://schemas.microsoft.com/office/drawing/2014/main" id="{DD8D1EEE-FFE1-E44C-7592-3FA3B0B05970}"/>
                </a:ext>
              </a:extLst>
            </p:cNvPr>
            <p:cNvGrpSpPr/>
            <p:nvPr/>
          </p:nvGrpSpPr>
          <p:grpSpPr>
            <a:xfrm>
              <a:off x="691435" y="4417757"/>
              <a:ext cx="1284514" cy="1177859"/>
              <a:chOff x="822063" y="4526613"/>
              <a:chExt cx="1284514" cy="1177859"/>
            </a:xfrm>
          </p:grpSpPr>
          <p:grpSp>
            <p:nvGrpSpPr>
              <p:cNvPr id="23" name="Grupo 22">
                <a:extLst>
                  <a:ext uri="{FF2B5EF4-FFF2-40B4-BE49-F238E27FC236}">
                    <a16:creationId xmlns:a16="http://schemas.microsoft.com/office/drawing/2014/main" id="{F4652E83-C427-71D3-04B8-2F3E65B1E8A1}"/>
                  </a:ext>
                </a:extLst>
              </p:cNvPr>
              <p:cNvGrpSpPr/>
              <p:nvPr/>
            </p:nvGrpSpPr>
            <p:grpSpPr>
              <a:xfrm>
                <a:off x="822063" y="4526613"/>
                <a:ext cx="1284514" cy="1177859"/>
                <a:chOff x="1016708" y="3239593"/>
                <a:chExt cx="1284514" cy="1177859"/>
              </a:xfrm>
            </p:grpSpPr>
            <p:pic>
              <p:nvPicPr>
                <p:cNvPr id="24" name="Gráfico 23">
                  <a:extLst>
                    <a:ext uri="{FF2B5EF4-FFF2-40B4-BE49-F238E27FC236}">
                      <a16:creationId xmlns:a16="http://schemas.microsoft.com/office/drawing/2014/main" id="{25548E9A-F044-9C3A-1425-3D2D1AC5122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62559" y="3335016"/>
                  <a:ext cx="992812" cy="992812"/>
                </a:xfrm>
                <a:prstGeom prst="rect">
                  <a:avLst/>
                </a:prstGeom>
              </p:spPr>
            </p:pic>
            <p:sp>
              <p:nvSpPr>
                <p:cNvPr id="26" name="object 15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F6D7F755-A6CF-5476-0174-CB4D020F787A}"/>
                    </a:ext>
                  </a:extLst>
                </p:cNvPr>
                <p:cNvSpPr/>
                <p:nvPr/>
              </p:nvSpPr>
              <p:spPr>
                <a:xfrm>
                  <a:off x="1016708" y="3239593"/>
                  <a:ext cx="1284514" cy="11778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5070" h="1196339">
                      <a:moveTo>
                        <a:pt x="597408" y="0"/>
                      </a:moveTo>
                      <a:lnTo>
                        <a:pt x="548412" y="1982"/>
                      </a:lnTo>
                      <a:lnTo>
                        <a:pt x="500506" y="7828"/>
                      </a:lnTo>
                      <a:lnTo>
                        <a:pt x="453845" y="17384"/>
                      </a:lnTo>
                      <a:lnTo>
                        <a:pt x="408583" y="30494"/>
                      </a:lnTo>
                      <a:lnTo>
                        <a:pt x="364872" y="47006"/>
                      </a:lnTo>
                      <a:lnTo>
                        <a:pt x="322867" y="66765"/>
                      </a:lnTo>
                      <a:lnTo>
                        <a:pt x="282721" y="89618"/>
                      </a:lnTo>
                      <a:lnTo>
                        <a:pt x="244589" y="115410"/>
                      </a:lnTo>
                      <a:lnTo>
                        <a:pt x="208623" y="143988"/>
                      </a:lnTo>
                      <a:lnTo>
                        <a:pt x="174979" y="175198"/>
                      </a:lnTo>
                      <a:lnTo>
                        <a:pt x="143808" y="208885"/>
                      </a:lnTo>
                      <a:lnTo>
                        <a:pt x="115266" y="244896"/>
                      </a:lnTo>
                      <a:lnTo>
                        <a:pt x="89506" y="283077"/>
                      </a:lnTo>
                      <a:lnTo>
                        <a:pt x="66682" y="323274"/>
                      </a:lnTo>
                      <a:lnTo>
                        <a:pt x="46948" y="365333"/>
                      </a:lnTo>
                      <a:lnTo>
                        <a:pt x="30456" y="409100"/>
                      </a:lnTo>
                      <a:lnTo>
                        <a:pt x="17362" y="454421"/>
                      </a:lnTo>
                      <a:lnTo>
                        <a:pt x="7819" y="501142"/>
                      </a:lnTo>
                      <a:lnTo>
                        <a:pt x="1980" y="549110"/>
                      </a:lnTo>
                      <a:lnTo>
                        <a:pt x="0" y="598170"/>
                      </a:lnTo>
                      <a:lnTo>
                        <a:pt x="1980" y="647229"/>
                      </a:lnTo>
                      <a:lnTo>
                        <a:pt x="7819" y="695197"/>
                      </a:lnTo>
                      <a:lnTo>
                        <a:pt x="17362" y="741918"/>
                      </a:lnTo>
                      <a:lnTo>
                        <a:pt x="30456" y="787239"/>
                      </a:lnTo>
                      <a:lnTo>
                        <a:pt x="46948" y="831006"/>
                      </a:lnTo>
                      <a:lnTo>
                        <a:pt x="66682" y="873065"/>
                      </a:lnTo>
                      <a:lnTo>
                        <a:pt x="89506" y="913262"/>
                      </a:lnTo>
                      <a:lnTo>
                        <a:pt x="115266" y="951443"/>
                      </a:lnTo>
                      <a:lnTo>
                        <a:pt x="143808" y="987454"/>
                      </a:lnTo>
                      <a:lnTo>
                        <a:pt x="174979" y="1021141"/>
                      </a:lnTo>
                      <a:lnTo>
                        <a:pt x="208623" y="1052351"/>
                      </a:lnTo>
                      <a:lnTo>
                        <a:pt x="244589" y="1080929"/>
                      </a:lnTo>
                      <a:lnTo>
                        <a:pt x="282721" y="1106721"/>
                      </a:lnTo>
                      <a:lnTo>
                        <a:pt x="322867" y="1129574"/>
                      </a:lnTo>
                      <a:lnTo>
                        <a:pt x="364872" y="1149333"/>
                      </a:lnTo>
                      <a:lnTo>
                        <a:pt x="408583" y="1165845"/>
                      </a:lnTo>
                      <a:lnTo>
                        <a:pt x="453845" y="1178955"/>
                      </a:lnTo>
                      <a:lnTo>
                        <a:pt x="500506" y="1188511"/>
                      </a:lnTo>
                      <a:lnTo>
                        <a:pt x="548412" y="1194357"/>
                      </a:lnTo>
                      <a:lnTo>
                        <a:pt x="597408" y="1196340"/>
                      </a:lnTo>
                      <a:lnTo>
                        <a:pt x="646403" y="1194357"/>
                      </a:lnTo>
                      <a:lnTo>
                        <a:pt x="694309" y="1188511"/>
                      </a:lnTo>
                      <a:lnTo>
                        <a:pt x="740970" y="1178955"/>
                      </a:lnTo>
                      <a:lnTo>
                        <a:pt x="786232" y="1165845"/>
                      </a:lnTo>
                      <a:lnTo>
                        <a:pt x="829943" y="1149333"/>
                      </a:lnTo>
                      <a:lnTo>
                        <a:pt x="871948" y="1129574"/>
                      </a:lnTo>
                      <a:lnTo>
                        <a:pt x="912094" y="1106721"/>
                      </a:lnTo>
                      <a:lnTo>
                        <a:pt x="950226" y="1080929"/>
                      </a:lnTo>
                      <a:lnTo>
                        <a:pt x="986192" y="1052351"/>
                      </a:lnTo>
                      <a:lnTo>
                        <a:pt x="1019836" y="1021141"/>
                      </a:lnTo>
                      <a:lnTo>
                        <a:pt x="1051007" y="987454"/>
                      </a:lnTo>
                      <a:lnTo>
                        <a:pt x="1079549" y="951443"/>
                      </a:lnTo>
                      <a:lnTo>
                        <a:pt x="1105309" y="913262"/>
                      </a:lnTo>
                      <a:lnTo>
                        <a:pt x="1128133" y="873065"/>
                      </a:lnTo>
                      <a:lnTo>
                        <a:pt x="1147867" y="831006"/>
                      </a:lnTo>
                      <a:lnTo>
                        <a:pt x="1164359" y="787239"/>
                      </a:lnTo>
                      <a:lnTo>
                        <a:pt x="1177453" y="741918"/>
                      </a:lnTo>
                      <a:lnTo>
                        <a:pt x="1186996" y="695197"/>
                      </a:lnTo>
                      <a:lnTo>
                        <a:pt x="1192835" y="647229"/>
                      </a:lnTo>
                      <a:lnTo>
                        <a:pt x="1194816" y="598170"/>
                      </a:lnTo>
                      <a:lnTo>
                        <a:pt x="1192835" y="549110"/>
                      </a:lnTo>
                      <a:lnTo>
                        <a:pt x="1186996" y="501142"/>
                      </a:lnTo>
                      <a:lnTo>
                        <a:pt x="1177453" y="454421"/>
                      </a:lnTo>
                      <a:lnTo>
                        <a:pt x="1164359" y="409100"/>
                      </a:lnTo>
                      <a:lnTo>
                        <a:pt x="1147867" y="365333"/>
                      </a:lnTo>
                      <a:lnTo>
                        <a:pt x="1128133" y="323274"/>
                      </a:lnTo>
                      <a:lnTo>
                        <a:pt x="1105309" y="283077"/>
                      </a:lnTo>
                      <a:lnTo>
                        <a:pt x="1079549" y="244896"/>
                      </a:lnTo>
                      <a:lnTo>
                        <a:pt x="1051007" y="208885"/>
                      </a:lnTo>
                      <a:lnTo>
                        <a:pt x="1019836" y="175198"/>
                      </a:lnTo>
                      <a:lnTo>
                        <a:pt x="986192" y="143988"/>
                      </a:lnTo>
                      <a:lnTo>
                        <a:pt x="950226" y="115410"/>
                      </a:lnTo>
                      <a:lnTo>
                        <a:pt x="912094" y="89618"/>
                      </a:lnTo>
                      <a:lnTo>
                        <a:pt x="871948" y="66765"/>
                      </a:lnTo>
                      <a:lnTo>
                        <a:pt x="829943" y="47006"/>
                      </a:lnTo>
                      <a:lnTo>
                        <a:pt x="786232" y="30494"/>
                      </a:lnTo>
                      <a:lnTo>
                        <a:pt x="740970" y="17384"/>
                      </a:lnTo>
                      <a:lnTo>
                        <a:pt x="694309" y="7828"/>
                      </a:lnTo>
                      <a:lnTo>
                        <a:pt x="646403" y="1982"/>
                      </a:lnTo>
                      <a:lnTo>
                        <a:pt x="597408" y="0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53" name="Group 65">
                <a:extLst>
                  <a:ext uri="{FF2B5EF4-FFF2-40B4-BE49-F238E27FC236}">
                    <a16:creationId xmlns:a16="http://schemas.microsoft.com/office/drawing/2014/main" id="{9EA96969-1CBE-BCA4-FD0F-72D438C78BDE}"/>
                  </a:ext>
                </a:extLst>
              </p:cNvPr>
              <p:cNvGrpSpPr/>
              <p:nvPr/>
            </p:nvGrpSpPr>
            <p:grpSpPr>
              <a:xfrm>
                <a:off x="1177659" y="4775448"/>
                <a:ext cx="648000" cy="648000"/>
                <a:chOff x="6440253" y="1638378"/>
                <a:chExt cx="397277" cy="395562"/>
              </a:xfrm>
              <a:solidFill>
                <a:schemeClr val="accent1"/>
              </a:solidFill>
            </p:grpSpPr>
            <p:sp>
              <p:nvSpPr>
                <p:cNvPr id="54" name="Graphic 363">
                  <a:extLst>
                    <a:ext uri="{FF2B5EF4-FFF2-40B4-BE49-F238E27FC236}">
                      <a16:creationId xmlns:a16="http://schemas.microsoft.com/office/drawing/2014/main" id="{AF99E6FC-A196-7AB0-2E25-03EEC4274D3C}"/>
                    </a:ext>
                  </a:extLst>
                </p:cNvPr>
                <p:cNvSpPr/>
                <p:nvPr/>
              </p:nvSpPr>
              <p:spPr>
                <a:xfrm>
                  <a:off x="6440253" y="1638378"/>
                  <a:ext cx="397277" cy="395562"/>
                </a:xfrm>
                <a:custGeom>
                  <a:avLst/>
                  <a:gdLst>
                    <a:gd name="connsiteX0" fmla="*/ 71668 w 397277"/>
                    <a:gd name="connsiteY0" fmla="*/ 395563 h 395562"/>
                    <a:gd name="connsiteX1" fmla="*/ 270210 w 397277"/>
                    <a:gd name="connsiteY1" fmla="*/ 395563 h 395562"/>
                    <a:gd name="connsiteX2" fmla="*/ 324394 w 397277"/>
                    <a:gd name="connsiteY2" fmla="*/ 375711 h 395562"/>
                    <a:gd name="connsiteX3" fmla="*/ 342070 w 397277"/>
                    <a:gd name="connsiteY3" fmla="*/ 323648 h 395562"/>
                    <a:gd name="connsiteX4" fmla="*/ 342070 w 397277"/>
                    <a:gd name="connsiteY4" fmla="*/ 255448 h 395562"/>
                    <a:gd name="connsiteX5" fmla="*/ 386902 w 397277"/>
                    <a:gd name="connsiteY5" fmla="*/ 215360 h 395562"/>
                    <a:gd name="connsiteX6" fmla="*/ 397278 w 397277"/>
                    <a:gd name="connsiteY6" fmla="*/ 191410 h 395562"/>
                    <a:gd name="connsiteX7" fmla="*/ 387159 w 397277"/>
                    <a:gd name="connsiteY7" fmla="*/ 167075 h 395562"/>
                    <a:gd name="connsiteX8" fmla="*/ 342326 w 397277"/>
                    <a:gd name="connsiteY8" fmla="*/ 164514 h 395562"/>
                    <a:gd name="connsiteX9" fmla="*/ 342326 w 397277"/>
                    <a:gd name="connsiteY9" fmla="*/ 71915 h 395562"/>
                    <a:gd name="connsiteX10" fmla="*/ 324650 w 397277"/>
                    <a:gd name="connsiteY10" fmla="*/ 19852 h 395562"/>
                    <a:gd name="connsiteX11" fmla="*/ 270467 w 397277"/>
                    <a:gd name="connsiteY11" fmla="*/ 0 h 395562"/>
                    <a:gd name="connsiteX12" fmla="*/ 71924 w 397277"/>
                    <a:gd name="connsiteY12" fmla="*/ 0 h 395562"/>
                    <a:gd name="connsiteX13" fmla="*/ 17741 w 397277"/>
                    <a:gd name="connsiteY13" fmla="*/ 19852 h 395562"/>
                    <a:gd name="connsiteX14" fmla="*/ 0 w 397277"/>
                    <a:gd name="connsiteY14" fmla="*/ 71915 h 395562"/>
                    <a:gd name="connsiteX15" fmla="*/ 0 w 397277"/>
                    <a:gd name="connsiteY15" fmla="*/ 323648 h 395562"/>
                    <a:gd name="connsiteX16" fmla="*/ 17741 w 397277"/>
                    <a:gd name="connsiteY16" fmla="*/ 375711 h 395562"/>
                    <a:gd name="connsiteX17" fmla="*/ 71668 w 397277"/>
                    <a:gd name="connsiteY17" fmla="*/ 395563 h 395562"/>
                    <a:gd name="connsiteX18" fmla="*/ 379089 w 397277"/>
                    <a:gd name="connsiteY18" fmla="*/ 175336 h 395562"/>
                    <a:gd name="connsiteX19" fmla="*/ 386006 w 397277"/>
                    <a:gd name="connsiteY19" fmla="*/ 191410 h 395562"/>
                    <a:gd name="connsiteX20" fmla="*/ 379153 w 397277"/>
                    <a:gd name="connsiteY20" fmla="*/ 206715 h 395562"/>
                    <a:gd name="connsiteX21" fmla="*/ 260988 w 397277"/>
                    <a:gd name="connsiteY21" fmla="*/ 311929 h 395562"/>
                    <a:gd name="connsiteX22" fmla="*/ 213145 w 397277"/>
                    <a:gd name="connsiteY22" fmla="*/ 327746 h 395562"/>
                    <a:gd name="connsiteX23" fmla="*/ 229029 w 397277"/>
                    <a:gd name="connsiteY23" fmla="*/ 280358 h 395562"/>
                    <a:gd name="connsiteX24" fmla="*/ 347450 w 397277"/>
                    <a:gd name="connsiteY24" fmla="*/ 175080 h 395562"/>
                    <a:gd name="connsiteX25" fmla="*/ 378788 w 397277"/>
                    <a:gd name="connsiteY25" fmla="*/ 174901 h 395562"/>
                    <a:gd name="connsiteX26" fmla="*/ 379217 w 397277"/>
                    <a:gd name="connsiteY26" fmla="*/ 175336 h 395562"/>
                    <a:gd name="connsiteX27" fmla="*/ 11080 w 397277"/>
                    <a:gd name="connsiteY27" fmla="*/ 71915 h 395562"/>
                    <a:gd name="connsiteX28" fmla="*/ 71668 w 397277"/>
                    <a:gd name="connsiteY28" fmla="*/ 11271 h 395562"/>
                    <a:gd name="connsiteX29" fmla="*/ 270210 w 397277"/>
                    <a:gd name="connsiteY29" fmla="*/ 11271 h 395562"/>
                    <a:gd name="connsiteX30" fmla="*/ 330798 w 397277"/>
                    <a:gd name="connsiteY30" fmla="*/ 71915 h 395562"/>
                    <a:gd name="connsiteX31" fmla="*/ 330798 w 397277"/>
                    <a:gd name="connsiteY31" fmla="*/ 175016 h 395562"/>
                    <a:gd name="connsiteX32" fmla="*/ 271748 w 397277"/>
                    <a:gd name="connsiteY32" fmla="*/ 227591 h 395562"/>
                    <a:gd name="connsiteX33" fmla="*/ 271171 w 397277"/>
                    <a:gd name="connsiteY33" fmla="*/ 227591 h 395562"/>
                    <a:gd name="connsiteX34" fmla="*/ 71668 w 397277"/>
                    <a:gd name="connsiteY34" fmla="*/ 227591 h 395562"/>
                    <a:gd name="connsiteX35" fmla="*/ 66032 w 397277"/>
                    <a:gd name="connsiteY35" fmla="*/ 233226 h 395562"/>
                    <a:gd name="connsiteX36" fmla="*/ 71668 w 397277"/>
                    <a:gd name="connsiteY36" fmla="*/ 238862 h 395562"/>
                    <a:gd name="connsiteX37" fmla="*/ 259323 w 397277"/>
                    <a:gd name="connsiteY37" fmla="*/ 238862 h 395562"/>
                    <a:gd name="connsiteX38" fmla="*/ 220447 w 397277"/>
                    <a:gd name="connsiteY38" fmla="*/ 273250 h 395562"/>
                    <a:gd name="connsiteX39" fmla="*/ 218845 w 397277"/>
                    <a:gd name="connsiteY39" fmla="*/ 275684 h 395562"/>
                    <a:gd name="connsiteX40" fmla="*/ 211224 w 397277"/>
                    <a:gd name="connsiteY40" fmla="*/ 298225 h 395562"/>
                    <a:gd name="connsiteX41" fmla="*/ 71668 w 397277"/>
                    <a:gd name="connsiteY41" fmla="*/ 298225 h 395562"/>
                    <a:gd name="connsiteX42" fmla="*/ 66601 w 397277"/>
                    <a:gd name="connsiteY42" fmla="*/ 304495 h 395562"/>
                    <a:gd name="connsiteX43" fmla="*/ 71668 w 397277"/>
                    <a:gd name="connsiteY43" fmla="*/ 309560 h 395562"/>
                    <a:gd name="connsiteX44" fmla="*/ 207445 w 397277"/>
                    <a:gd name="connsiteY44" fmla="*/ 309560 h 395562"/>
                    <a:gd name="connsiteX45" fmla="*/ 198799 w 397277"/>
                    <a:gd name="connsiteY45" fmla="*/ 335175 h 395562"/>
                    <a:gd name="connsiteX46" fmla="*/ 200208 w 397277"/>
                    <a:gd name="connsiteY46" fmla="*/ 340938 h 395562"/>
                    <a:gd name="connsiteX47" fmla="*/ 204179 w 397277"/>
                    <a:gd name="connsiteY47" fmla="*/ 342603 h 395562"/>
                    <a:gd name="connsiteX48" fmla="*/ 205972 w 397277"/>
                    <a:gd name="connsiteY48" fmla="*/ 342603 h 395562"/>
                    <a:gd name="connsiteX49" fmla="*/ 265599 w 397277"/>
                    <a:gd name="connsiteY49" fmla="*/ 322880 h 395562"/>
                    <a:gd name="connsiteX50" fmla="*/ 267584 w 397277"/>
                    <a:gd name="connsiteY50" fmla="*/ 321727 h 395562"/>
                    <a:gd name="connsiteX51" fmla="*/ 331054 w 397277"/>
                    <a:gd name="connsiteY51" fmla="*/ 265501 h 395562"/>
                    <a:gd name="connsiteX52" fmla="*/ 331054 w 397277"/>
                    <a:gd name="connsiteY52" fmla="*/ 323968 h 395562"/>
                    <a:gd name="connsiteX53" fmla="*/ 270467 w 397277"/>
                    <a:gd name="connsiteY53" fmla="*/ 384548 h 395562"/>
                    <a:gd name="connsiteX54" fmla="*/ 71924 w 397277"/>
                    <a:gd name="connsiteY54" fmla="*/ 384548 h 395562"/>
                    <a:gd name="connsiteX55" fmla="*/ 11336 w 397277"/>
                    <a:gd name="connsiteY55" fmla="*/ 323968 h 3955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</a:cxnLst>
                  <a:rect l="l" t="t" r="r" b="b"/>
                  <a:pathLst>
                    <a:path w="397277" h="395562">
                      <a:moveTo>
                        <a:pt x="71668" y="395563"/>
                      </a:moveTo>
                      <a:lnTo>
                        <a:pt x="270210" y="395563"/>
                      </a:lnTo>
                      <a:cubicBezTo>
                        <a:pt x="293715" y="395563"/>
                        <a:pt x="311969" y="388839"/>
                        <a:pt x="324394" y="375711"/>
                      </a:cubicBezTo>
                      <a:cubicBezTo>
                        <a:pt x="336818" y="362583"/>
                        <a:pt x="342070" y="345741"/>
                        <a:pt x="342070" y="323648"/>
                      </a:cubicBezTo>
                      <a:lnTo>
                        <a:pt x="342070" y="255448"/>
                      </a:lnTo>
                      <a:cubicBezTo>
                        <a:pt x="364550" y="235468"/>
                        <a:pt x="384084" y="218049"/>
                        <a:pt x="386902" y="215360"/>
                      </a:cubicBezTo>
                      <a:cubicBezTo>
                        <a:pt x="393518" y="209151"/>
                        <a:pt x="397278" y="200483"/>
                        <a:pt x="397278" y="191410"/>
                      </a:cubicBezTo>
                      <a:cubicBezTo>
                        <a:pt x="397188" y="182293"/>
                        <a:pt x="393557" y="173568"/>
                        <a:pt x="387159" y="167075"/>
                      </a:cubicBezTo>
                      <a:cubicBezTo>
                        <a:pt x="375099" y="154820"/>
                        <a:pt x="355706" y="153712"/>
                        <a:pt x="342326" y="164514"/>
                      </a:cubicBezTo>
                      <a:lnTo>
                        <a:pt x="342326" y="71915"/>
                      </a:lnTo>
                      <a:cubicBezTo>
                        <a:pt x="342326" y="49758"/>
                        <a:pt x="336370" y="32275"/>
                        <a:pt x="324650" y="19852"/>
                      </a:cubicBezTo>
                      <a:cubicBezTo>
                        <a:pt x="312929" y="7428"/>
                        <a:pt x="293972" y="0"/>
                        <a:pt x="270467" y="0"/>
                      </a:cubicBezTo>
                      <a:lnTo>
                        <a:pt x="71924" y="0"/>
                      </a:lnTo>
                      <a:cubicBezTo>
                        <a:pt x="48419" y="0"/>
                        <a:pt x="30166" y="6404"/>
                        <a:pt x="17741" y="19852"/>
                      </a:cubicBezTo>
                      <a:cubicBezTo>
                        <a:pt x="5316" y="33300"/>
                        <a:pt x="0" y="49758"/>
                        <a:pt x="0" y="71915"/>
                      </a:cubicBezTo>
                      <a:lnTo>
                        <a:pt x="0" y="323648"/>
                      </a:lnTo>
                      <a:cubicBezTo>
                        <a:pt x="0" y="345741"/>
                        <a:pt x="5956" y="363287"/>
                        <a:pt x="17741" y="375711"/>
                      </a:cubicBezTo>
                      <a:cubicBezTo>
                        <a:pt x="29525" y="388134"/>
                        <a:pt x="48163" y="395563"/>
                        <a:pt x="71668" y="395563"/>
                      </a:cubicBezTo>
                      <a:close/>
                      <a:moveTo>
                        <a:pt x="379089" y="175336"/>
                      </a:moveTo>
                      <a:cubicBezTo>
                        <a:pt x="383348" y="179623"/>
                        <a:pt x="385820" y="185368"/>
                        <a:pt x="386006" y="191410"/>
                      </a:cubicBezTo>
                      <a:cubicBezTo>
                        <a:pt x="385903" y="197231"/>
                        <a:pt x="383425" y="202758"/>
                        <a:pt x="379153" y="206715"/>
                      </a:cubicBezTo>
                      <a:cubicBezTo>
                        <a:pt x="373965" y="211902"/>
                        <a:pt x="300120" y="277156"/>
                        <a:pt x="260988" y="311929"/>
                      </a:cubicBezTo>
                      <a:lnTo>
                        <a:pt x="213145" y="327746"/>
                      </a:lnTo>
                      <a:lnTo>
                        <a:pt x="229029" y="280358"/>
                      </a:lnTo>
                      <a:cubicBezTo>
                        <a:pt x="241838" y="269280"/>
                        <a:pt x="340981" y="181548"/>
                        <a:pt x="347450" y="175080"/>
                      </a:cubicBezTo>
                      <a:cubicBezTo>
                        <a:pt x="356052" y="166378"/>
                        <a:pt x="370084" y="166297"/>
                        <a:pt x="378788" y="174901"/>
                      </a:cubicBezTo>
                      <a:cubicBezTo>
                        <a:pt x="378935" y="175044"/>
                        <a:pt x="379076" y="175189"/>
                        <a:pt x="379217" y="175336"/>
                      </a:cubicBezTo>
                      <a:close/>
                      <a:moveTo>
                        <a:pt x="11080" y="71915"/>
                      </a:moveTo>
                      <a:cubicBezTo>
                        <a:pt x="11080" y="44250"/>
                        <a:pt x="21584" y="11271"/>
                        <a:pt x="71668" y="11271"/>
                      </a:cubicBezTo>
                      <a:lnTo>
                        <a:pt x="270210" y="11271"/>
                      </a:lnTo>
                      <a:cubicBezTo>
                        <a:pt x="320295" y="11271"/>
                        <a:pt x="330798" y="44250"/>
                        <a:pt x="330798" y="71915"/>
                      </a:cubicBezTo>
                      <a:lnTo>
                        <a:pt x="330798" y="175016"/>
                      </a:lnTo>
                      <a:cubicBezTo>
                        <a:pt x="318693" y="185966"/>
                        <a:pt x="295509" y="206523"/>
                        <a:pt x="271748" y="227591"/>
                      </a:cubicBezTo>
                      <a:lnTo>
                        <a:pt x="271171" y="227591"/>
                      </a:lnTo>
                      <a:lnTo>
                        <a:pt x="71668" y="227591"/>
                      </a:lnTo>
                      <a:cubicBezTo>
                        <a:pt x="68555" y="227591"/>
                        <a:pt x="66032" y="230114"/>
                        <a:pt x="66032" y="233226"/>
                      </a:cubicBezTo>
                      <a:cubicBezTo>
                        <a:pt x="66032" y="236339"/>
                        <a:pt x="68555" y="238862"/>
                        <a:pt x="71668" y="238862"/>
                      </a:cubicBezTo>
                      <a:lnTo>
                        <a:pt x="259323" y="238862"/>
                      </a:lnTo>
                      <a:lnTo>
                        <a:pt x="220447" y="273250"/>
                      </a:lnTo>
                      <a:cubicBezTo>
                        <a:pt x="219691" y="273894"/>
                        <a:pt x="219140" y="274738"/>
                        <a:pt x="218845" y="275684"/>
                      </a:cubicBezTo>
                      <a:lnTo>
                        <a:pt x="211224" y="298225"/>
                      </a:lnTo>
                      <a:lnTo>
                        <a:pt x="71668" y="298225"/>
                      </a:lnTo>
                      <a:cubicBezTo>
                        <a:pt x="68536" y="298558"/>
                        <a:pt x="66268" y="301365"/>
                        <a:pt x="66601" y="304495"/>
                      </a:cubicBezTo>
                      <a:cubicBezTo>
                        <a:pt x="66890" y="307166"/>
                        <a:pt x="68997" y="309275"/>
                        <a:pt x="71668" y="309560"/>
                      </a:cubicBezTo>
                      <a:lnTo>
                        <a:pt x="207445" y="309560"/>
                      </a:lnTo>
                      <a:lnTo>
                        <a:pt x="198799" y="335175"/>
                      </a:lnTo>
                      <a:cubicBezTo>
                        <a:pt x="198152" y="337208"/>
                        <a:pt x="198697" y="339432"/>
                        <a:pt x="200208" y="340938"/>
                      </a:cubicBezTo>
                      <a:cubicBezTo>
                        <a:pt x="201246" y="342015"/>
                        <a:pt x="202680" y="342617"/>
                        <a:pt x="204179" y="342603"/>
                      </a:cubicBezTo>
                      <a:cubicBezTo>
                        <a:pt x="204775" y="342697"/>
                        <a:pt x="205377" y="342697"/>
                        <a:pt x="205972" y="342603"/>
                      </a:cubicBezTo>
                      <a:lnTo>
                        <a:pt x="265599" y="322880"/>
                      </a:lnTo>
                      <a:cubicBezTo>
                        <a:pt x="266336" y="322637"/>
                        <a:pt x="267008" y="322245"/>
                        <a:pt x="267584" y="321727"/>
                      </a:cubicBezTo>
                      <a:cubicBezTo>
                        <a:pt x="270018" y="319614"/>
                        <a:pt x="301145" y="292077"/>
                        <a:pt x="331054" y="265501"/>
                      </a:cubicBezTo>
                      <a:lnTo>
                        <a:pt x="331054" y="323968"/>
                      </a:lnTo>
                      <a:cubicBezTo>
                        <a:pt x="331054" y="351633"/>
                        <a:pt x="320551" y="384548"/>
                        <a:pt x="270467" y="384548"/>
                      </a:cubicBezTo>
                      <a:lnTo>
                        <a:pt x="71924" y="384548"/>
                      </a:lnTo>
                      <a:cubicBezTo>
                        <a:pt x="21840" y="384548"/>
                        <a:pt x="11336" y="351633"/>
                        <a:pt x="11336" y="323968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86179"/>
                    </a:solidFill>
                    <a:effectLst/>
                    <a:uLnTx/>
                    <a:uFillTx/>
                    <a:latin typeface="Arial" panose="020B0604020202020204"/>
                  </a:endParaRPr>
                </a:p>
              </p:txBody>
            </p:sp>
            <p:sp>
              <p:nvSpPr>
                <p:cNvPr id="55" name="Graphic 363">
                  <a:extLst>
                    <a:ext uri="{FF2B5EF4-FFF2-40B4-BE49-F238E27FC236}">
                      <a16:creationId xmlns:a16="http://schemas.microsoft.com/office/drawing/2014/main" id="{20A8E8FC-F10F-D483-EEDC-FB438311E943}"/>
                    </a:ext>
                  </a:extLst>
                </p:cNvPr>
                <p:cNvSpPr/>
                <p:nvPr/>
              </p:nvSpPr>
              <p:spPr>
                <a:xfrm>
                  <a:off x="6506284" y="1724509"/>
                  <a:ext cx="209815" cy="11270"/>
                </a:xfrm>
                <a:custGeom>
                  <a:avLst/>
                  <a:gdLst>
                    <a:gd name="connsiteX0" fmla="*/ 5636 w 209815"/>
                    <a:gd name="connsiteY0" fmla="*/ 11271 h 11270"/>
                    <a:gd name="connsiteX1" fmla="*/ 204179 w 209815"/>
                    <a:gd name="connsiteY1" fmla="*/ 11271 h 11270"/>
                    <a:gd name="connsiteX2" fmla="*/ 209815 w 209815"/>
                    <a:gd name="connsiteY2" fmla="*/ 5635 h 11270"/>
                    <a:gd name="connsiteX3" fmla="*/ 204179 w 209815"/>
                    <a:gd name="connsiteY3" fmla="*/ 0 h 11270"/>
                    <a:gd name="connsiteX4" fmla="*/ 5636 w 209815"/>
                    <a:gd name="connsiteY4" fmla="*/ 0 h 11270"/>
                    <a:gd name="connsiteX5" fmla="*/ 0 w 209815"/>
                    <a:gd name="connsiteY5" fmla="*/ 5635 h 11270"/>
                    <a:gd name="connsiteX6" fmla="*/ 5636 w 209815"/>
                    <a:gd name="connsiteY6" fmla="*/ 11271 h 112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9815" h="11270">
                      <a:moveTo>
                        <a:pt x="5636" y="11271"/>
                      </a:moveTo>
                      <a:lnTo>
                        <a:pt x="204179" y="11271"/>
                      </a:lnTo>
                      <a:cubicBezTo>
                        <a:pt x="207292" y="11271"/>
                        <a:pt x="209815" y="8748"/>
                        <a:pt x="209815" y="5635"/>
                      </a:cubicBezTo>
                      <a:cubicBezTo>
                        <a:pt x="209815" y="2523"/>
                        <a:pt x="207292" y="0"/>
                        <a:pt x="204179" y="0"/>
                      </a:cubicBezTo>
                      <a:lnTo>
                        <a:pt x="5636" y="0"/>
                      </a:lnTo>
                      <a:cubicBezTo>
                        <a:pt x="2523" y="0"/>
                        <a:pt x="0" y="2523"/>
                        <a:pt x="0" y="5635"/>
                      </a:cubicBezTo>
                      <a:cubicBezTo>
                        <a:pt x="0" y="8748"/>
                        <a:pt x="2523" y="11271"/>
                        <a:pt x="5636" y="11271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86179"/>
                    </a:solidFill>
                    <a:effectLst/>
                    <a:uLnTx/>
                    <a:uFillTx/>
                    <a:latin typeface="Arial" panose="020B0604020202020204"/>
                  </a:endParaRPr>
                </a:p>
              </p:txBody>
            </p:sp>
            <p:sp>
              <p:nvSpPr>
                <p:cNvPr id="56" name="Graphic 363">
                  <a:extLst>
                    <a:ext uri="{FF2B5EF4-FFF2-40B4-BE49-F238E27FC236}">
                      <a16:creationId xmlns:a16="http://schemas.microsoft.com/office/drawing/2014/main" id="{49587FD3-313D-69F3-E68A-26482A41D4AB}"/>
                    </a:ext>
                  </a:extLst>
                </p:cNvPr>
                <p:cNvSpPr/>
                <p:nvPr/>
              </p:nvSpPr>
              <p:spPr>
                <a:xfrm>
                  <a:off x="6506821" y="1795143"/>
                  <a:ext cx="208740" cy="11334"/>
                </a:xfrm>
                <a:custGeom>
                  <a:avLst/>
                  <a:gdLst>
                    <a:gd name="connsiteX0" fmla="*/ 5099 w 208740"/>
                    <a:gd name="connsiteY0" fmla="*/ 11335 h 11334"/>
                    <a:gd name="connsiteX1" fmla="*/ 203642 w 208740"/>
                    <a:gd name="connsiteY1" fmla="*/ 11335 h 11334"/>
                    <a:gd name="connsiteX2" fmla="*/ 208708 w 208740"/>
                    <a:gd name="connsiteY2" fmla="*/ 5064 h 11334"/>
                    <a:gd name="connsiteX3" fmla="*/ 203642 w 208740"/>
                    <a:gd name="connsiteY3" fmla="*/ 0 h 11334"/>
                    <a:gd name="connsiteX4" fmla="*/ 5099 w 208740"/>
                    <a:gd name="connsiteY4" fmla="*/ 0 h 11334"/>
                    <a:gd name="connsiteX5" fmla="*/ 32 w 208740"/>
                    <a:gd name="connsiteY5" fmla="*/ 6271 h 11334"/>
                    <a:gd name="connsiteX6" fmla="*/ 5099 w 208740"/>
                    <a:gd name="connsiteY6" fmla="*/ 11335 h 113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8740" h="11334">
                      <a:moveTo>
                        <a:pt x="5099" y="11335"/>
                      </a:moveTo>
                      <a:lnTo>
                        <a:pt x="203642" y="11335"/>
                      </a:lnTo>
                      <a:cubicBezTo>
                        <a:pt x="206773" y="11002"/>
                        <a:pt x="209041" y="8194"/>
                        <a:pt x="208708" y="5064"/>
                      </a:cubicBezTo>
                      <a:cubicBezTo>
                        <a:pt x="208419" y="2394"/>
                        <a:pt x="206312" y="284"/>
                        <a:pt x="203642" y="0"/>
                      </a:cubicBezTo>
                      <a:lnTo>
                        <a:pt x="5099" y="0"/>
                      </a:lnTo>
                      <a:cubicBezTo>
                        <a:pt x="1967" y="333"/>
                        <a:pt x="-301" y="3140"/>
                        <a:pt x="32" y="6271"/>
                      </a:cubicBezTo>
                      <a:cubicBezTo>
                        <a:pt x="321" y="8941"/>
                        <a:pt x="2428" y="11050"/>
                        <a:pt x="5099" y="11335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86179"/>
                    </a:solidFill>
                    <a:effectLst/>
                    <a:uLnTx/>
                    <a:uFillTx/>
                    <a:latin typeface="Arial" panose="020B0604020202020204"/>
                  </a:endParaRPr>
                </a:p>
              </p:txBody>
            </p:sp>
          </p:grpSp>
        </p:grpSp>
      </p:grpSp>
      <p:grpSp>
        <p:nvGrpSpPr>
          <p:cNvPr id="214" name="Grupo 213">
            <a:extLst>
              <a:ext uri="{FF2B5EF4-FFF2-40B4-BE49-F238E27FC236}">
                <a16:creationId xmlns:a16="http://schemas.microsoft.com/office/drawing/2014/main" id="{66AEB54D-334C-145E-49E9-0486C1E49916}"/>
              </a:ext>
            </a:extLst>
          </p:cNvPr>
          <p:cNvGrpSpPr/>
          <p:nvPr/>
        </p:nvGrpSpPr>
        <p:grpSpPr>
          <a:xfrm>
            <a:off x="1148634" y="5952244"/>
            <a:ext cx="11266690" cy="1177859"/>
            <a:chOff x="691435" y="5930471"/>
            <a:chExt cx="11266690" cy="1177859"/>
          </a:xfrm>
        </p:grpSpPr>
        <p:sp>
          <p:nvSpPr>
            <p:cNvPr id="19" name="object 4">
              <a:extLst>
                <a:ext uri="{FF2B5EF4-FFF2-40B4-BE49-F238E27FC236}">
                  <a16:creationId xmlns:a16="http://schemas.microsoft.com/office/drawing/2014/main" id="{30300D17-53C1-FA54-DC83-5EA15B09DD62}"/>
                </a:ext>
              </a:extLst>
            </p:cNvPr>
            <p:cNvSpPr txBox="1"/>
            <p:nvPr/>
          </p:nvSpPr>
          <p:spPr>
            <a:xfrm>
              <a:off x="2400762" y="6284853"/>
              <a:ext cx="9557363" cy="452034"/>
            </a:xfrm>
            <a:prstGeom prst="rect">
              <a:avLst/>
            </a:prstGeom>
          </p:spPr>
          <p:txBody>
            <a:bodyPr vert="horz" wrap="square" lIns="0" tIns="20942" rIns="0" bIns="0" rtlCol="0">
              <a:spAutoFit/>
            </a:bodyPr>
            <a:lstStyle>
              <a:defPPr>
                <a:defRPr kern="0"/>
              </a:defPPr>
              <a:lvl1pPr algn="l" defTabSz="1507846" rtl="0">
                <a:defRPr sz="2800" kern="1200" spc="-8">
                  <a:solidFill>
                    <a:srgbClr val="414A60"/>
                  </a:solidFill>
                  <a:latin typeface="Telefonica" panose="00000500000000000000" pitchFamily="2" charset="0"/>
                  <a:ea typeface="+mn-ea"/>
                  <a:cs typeface="+mn-cs"/>
                </a:defRPr>
              </a:lvl1pPr>
            </a:lstStyle>
            <a:p>
              <a:pPr marL="0" marR="0" lvl="0" indent="0" algn="l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800" b="1" i="0" u="none" strike="noStrike" kern="1200" cap="none" spc="-8" normalizeH="0" baseline="0" noProof="0">
                  <a:ln>
                    <a:noFill/>
                  </a:ln>
                  <a:solidFill>
                    <a:srgbClr val="414A60"/>
                  </a:solidFill>
                  <a:effectLst/>
                  <a:uLnTx/>
                  <a:uFillTx/>
                  <a:latin typeface="Telefonica" panose="00000500000000000000" pitchFamily="2" charset="0"/>
                  <a:ea typeface="+mn-ea"/>
                  <a:cs typeface="+mn-cs"/>
                </a:rPr>
                <a:t>Asesoramiento</a:t>
              </a:r>
              <a:r>
                <a:rPr kumimoji="0" lang="es-ES" sz="2800" b="0" i="0" u="none" strike="noStrike" kern="1200" cap="none" spc="-8" normalizeH="0" baseline="0" noProof="0">
                  <a:ln>
                    <a:noFill/>
                  </a:ln>
                  <a:solidFill>
                    <a:srgbClr val="414A60"/>
                  </a:solidFill>
                  <a:effectLst/>
                  <a:uLnTx/>
                  <a:uFillTx/>
                  <a:latin typeface="Telefonica" panose="00000500000000000000" pitchFamily="2" charset="0"/>
                  <a:ea typeface="+mn-ea"/>
                  <a:cs typeface="+mn-cs"/>
                </a:rPr>
                <a:t> especializado</a:t>
              </a:r>
            </a:p>
          </p:txBody>
        </p:sp>
        <p:grpSp>
          <p:nvGrpSpPr>
            <p:cNvPr id="67" name="Grupo 66">
              <a:extLst>
                <a:ext uri="{FF2B5EF4-FFF2-40B4-BE49-F238E27FC236}">
                  <a16:creationId xmlns:a16="http://schemas.microsoft.com/office/drawing/2014/main" id="{812AF89E-B6F5-3433-22D3-9E04E86436C7}"/>
                </a:ext>
              </a:extLst>
            </p:cNvPr>
            <p:cNvGrpSpPr/>
            <p:nvPr/>
          </p:nvGrpSpPr>
          <p:grpSpPr>
            <a:xfrm>
              <a:off x="691435" y="5930471"/>
              <a:ext cx="1284514" cy="1177859"/>
              <a:chOff x="822063" y="6017558"/>
              <a:chExt cx="1284514" cy="1177859"/>
            </a:xfrm>
          </p:grpSpPr>
          <p:grpSp>
            <p:nvGrpSpPr>
              <p:cNvPr id="28" name="Grupo 27">
                <a:extLst>
                  <a:ext uri="{FF2B5EF4-FFF2-40B4-BE49-F238E27FC236}">
                    <a16:creationId xmlns:a16="http://schemas.microsoft.com/office/drawing/2014/main" id="{B35CD8F0-A92F-165F-9257-08889E3190A4}"/>
                  </a:ext>
                </a:extLst>
              </p:cNvPr>
              <p:cNvGrpSpPr/>
              <p:nvPr/>
            </p:nvGrpSpPr>
            <p:grpSpPr>
              <a:xfrm>
                <a:off x="822063" y="6017558"/>
                <a:ext cx="1284514" cy="1177859"/>
                <a:chOff x="1016708" y="3239593"/>
                <a:chExt cx="1284514" cy="1177859"/>
              </a:xfrm>
            </p:grpSpPr>
            <p:pic>
              <p:nvPicPr>
                <p:cNvPr id="29" name="Gráfico 28">
                  <a:extLst>
                    <a:ext uri="{FF2B5EF4-FFF2-40B4-BE49-F238E27FC236}">
                      <a16:creationId xmlns:a16="http://schemas.microsoft.com/office/drawing/2014/main" id="{C2FE2E74-A3E1-EC0B-7325-57055CF0C83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62559" y="3335016"/>
                  <a:ext cx="992812" cy="992812"/>
                </a:xfrm>
                <a:prstGeom prst="rect">
                  <a:avLst/>
                </a:prstGeom>
              </p:spPr>
            </p:pic>
            <p:sp>
              <p:nvSpPr>
                <p:cNvPr id="31" name="object 15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FC128EA3-E315-4CA2-F549-015ACA187619}"/>
                    </a:ext>
                  </a:extLst>
                </p:cNvPr>
                <p:cNvSpPr/>
                <p:nvPr/>
              </p:nvSpPr>
              <p:spPr>
                <a:xfrm>
                  <a:off x="1016708" y="3239593"/>
                  <a:ext cx="1284514" cy="11778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5070" h="1196339">
                      <a:moveTo>
                        <a:pt x="597408" y="0"/>
                      </a:moveTo>
                      <a:lnTo>
                        <a:pt x="548412" y="1982"/>
                      </a:lnTo>
                      <a:lnTo>
                        <a:pt x="500506" y="7828"/>
                      </a:lnTo>
                      <a:lnTo>
                        <a:pt x="453845" y="17384"/>
                      </a:lnTo>
                      <a:lnTo>
                        <a:pt x="408583" y="30494"/>
                      </a:lnTo>
                      <a:lnTo>
                        <a:pt x="364872" y="47006"/>
                      </a:lnTo>
                      <a:lnTo>
                        <a:pt x="322867" y="66765"/>
                      </a:lnTo>
                      <a:lnTo>
                        <a:pt x="282721" y="89618"/>
                      </a:lnTo>
                      <a:lnTo>
                        <a:pt x="244589" y="115410"/>
                      </a:lnTo>
                      <a:lnTo>
                        <a:pt x="208623" y="143988"/>
                      </a:lnTo>
                      <a:lnTo>
                        <a:pt x="174979" y="175198"/>
                      </a:lnTo>
                      <a:lnTo>
                        <a:pt x="143808" y="208885"/>
                      </a:lnTo>
                      <a:lnTo>
                        <a:pt x="115266" y="244896"/>
                      </a:lnTo>
                      <a:lnTo>
                        <a:pt x="89506" y="283077"/>
                      </a:lnTo>
                      <a:lnTo>
                        <a:pt x="66682" y="323274"/>
                      </a:lnTo>
                      <a:lnTo>
                        <a:pt x="46948" y="365333"/>
                      </a:lnTo>
                      <a:lnTo>
                        <a:pt x="30456" y="409100"/>
                      </a:lnTo>
                      <a:lnTo>
                        <a:pt x="17362" y="454421"/>
                      </a:lnTo>
                      <a:lnTo>
                        <a:pt x="7819" y="501142"/>
                      </a:lnTo>
                      <a:lnTo>
                        <a:pt x="1980" y="549110"/>
                      </a:lnTo>
                      <a:lnTo>
                        <a:pt x="0" y="598170"/>
                      </a:lnTo>
                      <a:lnTo>
                        <a:pt x="1980" y="647229"/>
                      </a:lnTo>
                      <a:lnTo>
                        <a:pt x="7819" y="695197"/>
                      </a:lnTo>
                      <a:lnTo>
                        <a:pt x="17362" y="741918"/>
                      </a:lnTo>
                      <a:lnTo>
                        <a:pt x="30456" y="787239"/>
                      </a:lnTo>
                      <a:lnTo>
                        <a:pt x="46948" y="831006"/>
                      </a:lnTo>
                      <a:lnTo>
                        <a:pt x="66682" y="873065"/>
                      </a:lnTo>
                      <a:lnTo>
                        <a:pt x="89506" y="913262"/>
                      </a:lnTo>
                      <a:lnTo>
                        <a:pt x="115266" y="951443"/>
                      </a:lnTo>
                      <a:lnTo>
                        <a:pt x="143808" y="987454"/>
                      </a:lnTo>
                      <a:lnTo>
                        <a:pt x="174979" y="1021141"/>
                      </a:lnTo>
                      <a:lnTo>
                        <a:pt x="208623" y="1052351"/>
                      </a:lnTo>
                      <a:lnTo>
                        <a:pt x="244589" y="1080929"/>
                      </a:lnTo>
                      <a:lnTo>
                        <a:pt x="282721" y="1106721"/>
                      </a:lnTo>
                      <a:lnTo>
                        <a:pt x="322867" y="1129574"/>
                      </a:lnTo>
                      <a:lnTo>
                        <a:pt x="364872" y="1149333"/>
                      </a:lnTo>
                      <a:lnTo>
                        <a:pt x="408583" y="1165845"/>
                      </a:lnTo>
                      <a:lnTo>
                        <a:pt x="453845" y="1178955"/>
                      </a:lnTo>
                      <a:lnTo>
                        <a:pt x="500506" y="1188511"/>
                      </a:lnTo>
                      <a:lnTo>
                        <a:pt x="548412" y="1194357"/>
                      </a:lnTo>
                      <a:lnTo>
                        <a:pt x="597408" y="1196340"/>
                      </a:lnTo>
                      <a:lnTo>
                        <a:pt x="646403" y="1194357"/>
                      </a:lnTo>
                      <a:lnTo>
                        <a:pt x="694309" y="1188511"/>
                      </a:lnTo>
                      <a:lnTo>
                        <a:pt x="740970" y="1178955"/>
                      </a:lnTo>
                      <a:lnTo>
                        <a:pt x="786232" y="1165845"/>
                      </a:lnTo>
                      <a:lnTo>
                        <a:pt x="829943" y="1149333"/>
                      </a:lnTo>
                      <a:lnTo>
                        <a:pt x="871948" y="1129574"/>
                      </a:lnTo>
                      <a:lnTo>
                        <a:pt x="912094" y="1106721"/>
                      </a:lnTo>
                      <a:lnTo>
                        <a:pt x="950226" y="1080929"/>
                      </a:lnTo>
                      <a:lnTo>
                        <a:pt x="986192" y="1052351"/>
                      </a:lnTo>
                      <a:lnTo>
                        <a:pt x="1019836" y="1021141"/>
                      </a:lnTo>
                      <a:lnTo>
                        <a:pt x="1051007" y="987454"/>
                      </a:lnTo>
                      <a:lnTo>
                        <a:pt x="1079549" y="951443"/>
                      </a:lnTo>
                      <a:lnTo>
                        <a:pt x="1105309" y="913262"/>
                      </a:lnTo>
                      <a:lnTo>
                        <a:pt x="1128133" y="873065"/>
                      </a:lnTo>
                      <a:lnTo>
                        <a:pt x="1147867" y="831006"/>
                      </a:lnTo>
                      <a:lnTo>
                        <a:pt x="1164359" y="787239"/>
                      </a:lnTo>
                      <a:lnTo>
                        <a:pt x="1177453" y="741918"/>
                      </a:lnTo>
                      <a:lnTo>
                        <a:pt x="1186996" y="695197"/>
                      </a:lnTo>
                      <a:lnTo>
                        <a:pt x="1192835" y="647229"/>
                      </a:lnTo>
                      <a:lnTo>
                        <a:pt x="1194816" y="598170"/>
                      </a:lnTo>
                      <a:lnTo>
                        <a:pt x="1192835" y="549110"/>
                      </a:lnTo>
                      <a:lnTo>
                        <a:pt x="1186996" y="501142"/>
                      </a:lnTo>
                      <a:lnTo>
                        <a:pt x="1177453" y="454421"/>
                      </a:lnTo>
                      <a:lnTo>
                        <a:pt x="1164359" y="409100"/>
                      </a:lnTo>
                      <a:lnTo>
                        <a:pt x="1147867" y="365333"/>
                      </a:lnTo>
                      <a:lnTo>
                        <a:pt x="1128133" y="323274"/>
                      </a:lnTo>
                      <a:lnTo>
                        <a:pt x="1105309" y="283077"/>
                      </a:lnTo>
                      <a:lnTo>
                        <a:pt x="1079549" y="244896"/>
                      </a:lnTo>
                      <a:lnTo>
                        <a:pt x="1051007" y="208885"/>
                      </a:lnTo>
                      <a:lnTo>
                        <a:pt x="1019836" y="175198"/>
                      </a:lnTo>
                      <a:lnTo>
                        <a:pt x="986192" y="143988"/>
                      </a:lnTo>
                      <a:lnTo>
                        <a:pt x="950226" y="115410"/>
                      </a:lnTo>
                      <a:lnTo>
                        <a:pt x="912094" y="89618"/>
                      </a:lnTo>
                      <a:lnTo>
                        <a:pt x="871948" y="66765"/>
                      </a:lnTo>
                      <a:lnTo>
                        <a:pt x="829943" y="47006"/>
                      </a:lnTo>
                      <a:lnTo>
                        <a:pt x="786232" y="30494"/>
                      </a:lnTo>
                      <a:lnTo>
                        <a:pt x="740970" y="17384"/>
                      </a:lnTo>
                      <a:lnTo>
                        <a:pt x="694309" y="7828"/>
                      </a:lnTo>
                      <a:lnTo>
                        <a:pt x="646403" y="1982"/>
                      </a:lnTo>
                      <a:lnTo>
                        <a:pt x="597408" y="0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3" name="Group 224">
                <a:extLst>
                  <a:ext uri="{FF2B5EF4-FFF2-40B4-BE49-F238E27FC236}">
                    <a16:creationId xmlns:a16="http://schemas.microsoft.com/office/drawing/2014/main" id="{0DA21AF9-AFEE-4EF5-486D-D9173C6099E4}"/>
                  </a:ext>
                </a:extLst>
              </p:cNvPr>
              <p:cNvGrpSpPr/>
              <p:nvPr/>
            </p:nvGrpSpPr>
            <p:grpSpPr>
              <a:xfrm>
                <a:off x="1132476" y="6178605"/>
                <a:ext cx="648000" cy="648000"/>
                <a:chOff x="4503367" y="4385287"/>
                <a:chExt cx="321778" cy="361686"/>
              </a:xfrm>
              <a:solidFill>
                <a:schemeClr val="accent1"/>
              </a:solidFill>
            </p:grpSpPr>
            <p:sp>
              <p:nvSpPr>
                <p:cNvPr id="64" name="Graphic 363">
                  <a:extLst>
                    <a:ext uri="{FF2B5EF4-FFF2-40B4-BE49-F238E27FC236}">
                      <a16:creationId xmlns:a16="http://schemas.microsoft.com/office/drawing/2014/main" id="{46E056C0-70B1-046D-46D4-E0C38F552879}"/>
                    </a:ext>
                  </a:extLst>
                </p:cNvPr>
                <p:cNvSpPr/>
                <p:nvPr/>
              </p:nvSpPr>
              <p:spPr>
                <a:xfrm>
                  <a:off x="4554186" y="4385287"/>
                  <a:ext cx="220083" cy="191601"/>
                </a:xfrm>
                <a:custGeom>
                  <a:avLst/>
                  <a:gdLst>
                    <a:gd name="connsiteX0" fmla="*/ 169888 w 220083"/>
                    <a:gd name="connsiteY0" fmla="*/ 49694 h 191601"/>
                    <a:gd name="connsiteX1" fmla="*/ 110453 w 220083"/>
                    <a:gd name="connsiteY1" fmla="*/ 29778 h 191601"/>
                    <a:gd name="connsiteX2" fmla="*/ 51018 w 220083"/>
                    <a:gd name="connsiteY2" fmla="*/ 49694 h 191601"/>
                    <a:gd name="connsiteX3" fmla="*/ 29563 w 220083"/>
                    <a:gd name="connsiteY3" fmla="*/ 110658 h 191601"/>
                    <a:gd name="connsiteX4" fmla="*/ 51018 w 220083"/>
                    <a:gd name="connsiteY4" fmla="*/ 171686 h 191601"/>
                    <a:gd name="connsiteX5" fmla="*/ 110453 w 220083"/>
                    <a:gd name="connsiteY5" fmla="*/ 191602 h 191601"/>
                    <a:gd name="connsiteX6" fmla="*/ 169888 w 220083"/>
                    <a:gd name="connsiteY6" fmla="*/ 171686 h 191601"/>
                    <a:gd name="connsiteX7" fmla="*/ 184490 w 220083"/>
                    <a:gd name="connsiteY7" fmla="*/ 149657 h 191601"/>
                    <a:gd name="connsiteX8" fmla="*/ 191279 w 220083"/>
                    <a:gd name="connsiteY8" fmla="*/ 149657 h 191601"/>
                    <a:gd name="connsiteX9" fmla="*/ 212286 w 220083"/>
                    <a:gd name="connsiteY9" fmla="*/ 142164 h 191601"/>
                    <a:gd name="connsiteX10" fmla="*/ 220036 w 220083"/>
                    <a:gd name="connsiteY10" fmla="*/ 120648 h 191601"/>
                    <a:gd name="connsiteX11" fmla="*/ 220036 w 220083"/>
                    <a:gd name="connsiteY11" fmla="*/ 110594 h 191601"/>
                    <a:gd name="connsiteX12" fmla="*/ 220036 w 220083"/>
                    <a:gd name="connsiteY12" fmla="*/ 110594 h 191601"/>
                    <a:gd name="connsiteX13" fmla="*/ 109492 w 220083"/>
                    <a:gd name="connsiteY13" fmla="*/ 0 h 191601"/>
                    <a:gd name="connsiteX14" fmla="*/ 33982 w 220083"/>
                    <a:gd name="connsiteY14" fmla="*/ 22093 h 191601"/>
                    <a:gd name="connsiteX15" fmla="*/ 38 w 220083"/>
                    <a:gd name="connsiteY15" fmla="*/ 90229 h 191601"/>
                    <a:gd name="connsiteX16" fmla="*/ 4514 w 220083"/>
                    <a:gd name="connsiteY16" fmla="*/ 95929 h 191601"/>
                    <a:gd name="connsiteX17" fmla="*/ 4520 w 220083"/>
                    <a:gd name="connsiteY17" fmla="*/ 95929 h 191601"/>
                    <a:gd name="connsiteX18" fmla="*/ 10285 w 220083"/>
                    <a:gd name="connsiteY18" fmla="*/ 91382 h 191601"/>
                    <a:gd name="connsiteX19" fmla="*/ 109492 w 220083"/>
                    <a:gd name="connsiteY19" fmla="*/ 10310 h 191601"/>
                    <a:gd name="connsiteX20" fmla="*/ 209788 w 220083"/>
                    <a:gd name="connsiteY20" fmla="*/ 110594 h 191601"/>
                    <a:gd name="connsiteX21" fmla="*/ 209788 w 220083"/>
                    <a:gd name="connsiteY21" fmla="*/ 120584 h 191601"/>
                    <a:gd name="connsiteX22" fmla="*/ 209788 w 220083"/>
                    <a:gd name="connsiteY22" fmla="*/ 120584 h 191601"/>
                    <a:gd name="connsiteX23" fmla="*/ 205113 w 220083"/>
                    <a:gd name="connsiteY23" fmla="*/ 134736 h 191601"/>
                    <a:gd name="connsiteX24" fmla="*/ 191343 w 220083"/>
                    <a:gd name="connsiteY24" fmla="*/ 139347 h 191601"/>
                    <a:gd name="connsiteX25" fmla="*/ 188013 w 220083"/>
                    <a:gd name="connsiteY25" fmla="*/ 139347 h 191601"/>
                    <a:gd name="connsiteX26" fmla="*/ 191407 w 220083"/>
                    <a:gd name="connsiteY26" fmla="*/ 110594 h 191601"/>
                    <a:gd name="connsiteX27" fmla="*/ 169888 w 220083"/>
                    <a:gd name="connsiteY27" fmla="*/ 49694 h 191601"/>
                    <a:gd name="connsiteX28" fmla="*/ 162714 w 220083"/>
                    <a:gd name="connsiteY28" fmla="*/ 164257 h 191601"/>
                    <a:gd name="connsiteX29" fmla="*/ 110453 w 220083"/>
                    <a:gd name="connsiteY29" fmla="*/ 181292 h 191601"/>
                    <a:gd name="connsiteX30" fmla="*/ 58191 w 220083"/>
                    <a:gd name="connsiteY30" fmla="*/ 164257 h 191601"/>
                    <a:gd name="connsiteX31" fmla="*/ 39874 w 220083"/>
                    <a:gd name="connsiteY31" fmla="*/ 110658 h 191601"/>
                    <a:gd name="connsiteX32" fmla="*/ 58191 w 220083"/>
                    <a:gd name="connsiteY32" fmla="*/ 57122 h 191601"/>
                    <a:gd name="connsiteX33" fmla="*/ 110453 w 220083"/>
                    <a:gd name="connsiteY33" fmla="*/ 40088 h 191601"/>
                    <a:gd name="connsiteX34" fmla="*/ 162714 w 220083"/>
                    <a:gd name="connsiteY34" fmla="*/ 57122 h 191601"/>
                    <a:gd name="connsiteX35" fmla="*/ 181031 w 220083"/>
                    <a:gd name="connsiteY35" fmla="*/ 110658 h 191601"/>
                    <a:gd name="connsiteX36" fmla="*/ 177189 w 220083"/>
                    <a:gd name="connsiteY36" fmla="*/ 139411 h 191601"/>
                    <a:gd name="connsiteX37" fmla="*/ 161433 w 220083"/>
                    <a:gd name="connsiteY37" fmla="*/ 139411 h 191601"/>
                    <a:gd name="connsiteX38" fmla="*/ 144954 w 220083"/>
                    <a:gd name="connsiteY38" fmla="*/ 133852 h 191601"/>
                    <a:gd name="connsiteX39" fmla="*/ 138121 w 220083"/>
                    <a:gd name="connsiteY39" fmla="*/ 144662 h 191601"/>
                    <a:gd name="connsiteX40" fmla="*/ 141131 w 220083"/>
                    <a:gd name="connsiteY40" fmla="*/ 153499 h 191601"/>
                    <a:gd name="connsiteX41" fmla="*/ 159192 w 220083"/>
                    <a:gd name="connsiteY41" fmla="*/ 153499 h 191601"/>
                    <a:gd name="connsiteX42" fmla="*/ 161497 w 220083"/>
                    <a:gd name="connsiteY42" fmla="*/ 149657 h 191601"/>
                    <a:gd name="connsiteX43" fmla="*/ 173218 w 220083"/>
                    <a:gd name="connsiteY43" fmla="*/ 149657 h 191601"/>
                    <a:gd name="connsiteX44" fmla="*/ 162714 w 220083"/>
                    <a:gd name="connsiteY44" fmla="*/ 164257 h 191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220083" h="191601">
                      <a:moveTo>
                        <a:pt x="169888" y="49694"/>
                      </a:moveTo>
                      <a:cubicBezTo>
                        <a:pt x="156182" y="36502"/>
                        <a:pt x="136199" y="29778"/>
                        <a:pt x="110453" y="29778"/>
                      </a:cubicBezTo>
                      <a:cubicBezTo>
                        <a:pt x="84706" y="29778"/>
                        <a:pt x="64724" y="36502"/>
                        <a:pt x="51018" y="49694"/>
                      </a:cubicBezTo>
                      <a:cubicBezTo>
                        <a:pt x="37312" y="62885"/>
                        <a:pt x="29563" y="83954"/>
                        <a:pt x="29563" y="110658"/>
                      </a:cubicBezTo>
                      <a:cubicBezTo>
                        <a:pt x="29563" y="137362"/>
                        <a:pt x="36800" y="157918"/>
                        <a:pt x="51018" y="171686"/>
                      </a:cubicBezTo>
                      <a:cubicBezTo>
                        <a:pt x="65236" y="185454"/>
                        <a:pt x="84770" y="191602"/>
                        <a:pt x="110453" y="191602"/>
                      </a:cubicBezTo>
                      <a:cubicBezTo>
                        <a:pt x="136135" y="191602"/>
                        <a:pt x="156182" y="184878"/>
                        <a:pt x="169888" y="171686"/>
                      </a:cubicBezTo>
                      <a:cubicBezTo>
                        <a:pt x="176209" y="165416"/>
                        <a:pt x="181179" y="157918"/>
                        <a:pt x="184490" y="149657"/>
                      </a:cubicBezTo>
                      <a:lnTo>
                        <a:pt x="191279" y="149657"/>
                      </a:lnTo>
                      <a:cubicBezTo>
                        <a:pt x="199003" y="150086"/>
                        <a:pt x="206580" y="147384"/>
                        <a:pt x="212286" y="142164"/>
                      </a:cubicBezTo>
                      <a:cubicBezTo>
                        <a:pt x="217691" y="136350"/>
                        <a:pt x="220490" y="128575"/>
                        <a:pt x="220036" y="120648"/>
                      </a:cubicBezTo>
                      <a:lnTo>
                        <a:pt x="220036" y="110594"/>
                      </a:lnTo>
                      <a:lnTo>
                        <a:pt x="220036" y="110594"/>
                      </a:lnTo>
                      <a:cubicBezTo>
                        <a:pt x="220036" y="38231"/>
                        <a:pt x="181608" y="0"/>
                        <a:pt x="109492" y="0"/>
                      </a:cubicBezTo>
                      <a:cubicBezTo>
                        <a:pt x="77469" y="0"/>
                        <a:pt x="52363" y="7428"/>
                        <a:pt x="33982" y="22093"/>
                      </a:cubicBezTo>
                      <a:cubicBezTo>
                        <a:pt x="15601" y="36758"/>
                        <a:pt x="3432" y="60516"/>
                        <a:pt x="38" y="90229"/>
                      </a:cubicBezTo>
                      <a:cubicBezTo>
                        <a:pt x="-302" y="93041"/>
                        <a:pt x="1702" y="95590"/>
                        <a:pt x="4514" y="95929"/>
                      </a:cubicBezTo>
                      <a:cubicBezTo>
                        <a:pt x="4514" y="95929"/>
                        <a:pt x="4520" y="95929"/>
                        <a:pt x="4520" y="95929"/>
                      </a:cubicBezTo>
                      <a:cubicBezTo>
                        <a:pt x="7358" y="96230"/>
                        <a:pt x="9920" y="94213"/>
                        <a:pt x="10285" y="91382"/>
                      </a:cubicBezTo>
                      <a:cubicBezTo>
                        <a:pt x="16689" y="37590"/>
                        <a:pt x="49801" y="10310"/>
                        <a:pt x="109492" y="10310"/>
                      </a:cubicBezTo>
                      <a:cubicBezTo>
                        <a:pt x="176036" y="10310"/>
                        <a:pt x="209724" y="44058"/>
                        <a:pt x="209788" y="110594"/>
                      </a:cubicBezTo>
                      <a:lnTo>
                        <a:pt x="209788" y="120584"/>
                      </a:lnTo>
                      <a:lnTo>
                        <a:pt x="209788" y="120584"/>
                      </a:lnTo>
                      <a:cubicBezTo>
                        <a:pt x="210198" y="125739"/>
                        <a:pt x="208514" y="130842"/>
                        <a:pt x="205113" y="134736"/>
                      </a:cubicBezTo>
                      <a:cubicBezTo>
                        <a:pt x="201334" y="138066"/>
                        <a:pt x="196364" y="139724"/>
                        <a:pt x="191343" y="139347"/>
                      </a:cubicBezTo>
                      <a:lnTo>
                        <a:pt x="188013" y="139347"/>
                      </a:lnTo>
                      <a:cubicBezTo>
                        <a:pt x="190363" y="129946"/>
                        <a:pt x="191503" y="120282"/>
                        <a:pt x="191407" y="110594"/>
                      </a:cubicBezTo>
                      <a:cubicBezTo>
                        <a:pt x="191343" y="83954"/>
                        <a:pt x="184106" y="63654"/>
                        <a:pt x="169888" y="49694"/>
                      </a:cubicBezTo>
                      <a:close/>
                      <a:moveTo>
                        <a:pt x="162714" y="164257"/>
                      </a:moveTo>
                      <a:cubicBezTo>
                        <a:pt x="150994" y="175528"/>
                        <a:pt x="133445" y="181292"/>
                        <a:pt x="110453" y="181292"/>
                      </a:cubicBezTo>
                      <a:cubicBezTo>
                        <a:pt x="87460" y="181292"/>
                        <a:pt x="69912" y="175528"/>
                        <a:pt x="58191" y="164257"/>
                      </a:cubicBezTo>
                      <a:cubicBezTo>
                        <a:pt x="46471" y="152987"/>
                        <a:pt x="39874" y="134544"/>
                        <a:pt x="39874" y="110658"/>
                      </a:cubicBezTo>
                      <a:cubicBezTo>
                        <a:pt x="39874" y="86771"/>
                        <a:pt x="46279" y="68841"/>
                        <a:pt x="58191" y="57122"/>
                      </a:cubicBezTo>
                      <a:cubicBezTo>
                        <a:pt x="70104" y="45403"/>
                        <a:pt x="87524" y="40088"/>
                        <a:pt x="110453" y="40088"/>
                      </a:cubicBezTo>
                      <a:cubicBezTo>
                        <a:pt x="133381" y="40088"/>
                        <a:pt x="150994" y="45851"/>
                        <a:pt x="162714" y="57122"/>
                      </a:cubicBezTo>
                      <a:cubicBezTo>
                        <a:pt x="174435" y="68393"/>
                        <a:pt x="181031" y="86835"/>
                        <a:pt x="181031" y="110658"/>
                      </a:cubicBezTo>
                      <a:cubicBezTo>
                        <a:pt x="181147" y="120379"/>
                        <a:pt x="179853" y="130061"/>
                        <a:pt x="177189" y="139411"/>
                      </a:cubicBezTo>
                      <a:lnTo>
                        <a:pt x="161433" y="139411"/>
                      </a:lnTo>
                      <a:cubicBezTo>
                        <a:pt x="158417" y="133327"/>
                        <a:pt x="151039" y="130836"/>
                        <a:pt x="144954" y="133852"/>
                      </a:cubicBezTo>
                      <a:cubicBezTo>
                        <a:pt x="140836" y="135895"/>
                        <a:pt x="138198" y="140064"/>
                        <a:pt x="138121" y="144662"/>
                      </a:cubicBezTo>
                      <a:cubicBezTo>
                        <a:pt x="137922" y="147889"/>
                        <a:pt x="139005" y="151066"/>
                        <a:pt x="141131" y="153499"/>
                      </a:cubicBezTo>
                      <a:cubicBezTo>
                        <a:pt x="146421" y="157694"/>
                        <a:pt x="153902" y="157694"/>
                        <a:pt x="159192" y="153499"/>
                      </a:cubicBezTo>
                      <a:cubicBezTo>
                        <a:pt x="160249" y="152417"/>
                        <a:pt x="161043" y="151098"/>
                        <a:pt x="161497" y="149657"/>
                      </a:cubicBezTo>
                      <a:lnTo>
                        <a:pt x="173218" y="149657"/>
                      </a:lnTo>
                      <a:cubicBezTo>
                        <a:pt x="170573" y="155087"/>
                        <a:pt x="167018" y="160025"/>
                        <a:pt x="162714" y="164257"/>
                      </a:cubicBezTo>
                      <a:close/>
                    </a:path>
                  </a:pathLst>
                </a:custGeom>
                <a:grpFill/>
                <a:ln w="3175" cap="flat">
                  <a:solidFill>
                    <a:srgbClr val="0066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86179"/>
                    </a:solidFill>
                    <a:effectLst/>
                    <a:uLnTx/>
                    <a:uFillTx/>
                    <a:latin typeface="Arial" panose="020B0604020202020204"/>
                  </a:endParaRPr>
                </a:p>
              </p:txBody>
            </p:sp>
            <p:sp>
              <p:nvSpPr>
                <p:cNvPr id="65" name="Graphic 363">
                  <a:extLst>
                    <a:ext uri="{FF2B5EF4-FFF2-40B4-BE49-F238E27FC236}">
                      <a16:creationId xmlns:a16="http://schemas.microsoft.com/office/drawing/2014/main" id="{D5E6D683-BE3D-7D09-1262-7BC1F0ABD6F8}"/>
                    </a:ext>
                  </a:extLst>
                </p:cNvPr>
                <p:cNvSpPr/>
                <p:nvPr/>
              </p:nvSpPr>
              <p:spPr>
                <a:xfrm>
                  <a:off x="4503367" y="4615952"/>
                  <a:ext cx="321778" cy="131021"/>
                </a:xfrm>
                <a:custGeom>
                  <a:avLst/>
                  <a:gdLst>
                    <a:gd name="connsiteX0" fmla="*/ 68 w 321778"/>
                    <a:gd name="connsiteY0" fmla="*/ 125899 h 131021"/>
                    <a:gd name="connsiteX1" fmla="*/ 5192 w 321778"/>
                    <a:gd name="connsiteY1" fmla="*/ 131022 h 131021"/>
                    <a:gd name="connsiteX2" fmla="*/ 5256 w 321778"/>
                    <a:gd name="connsiteY2" fmla="*/ 131022 h 131021"/>
                    <a:gd name="connsiteX3" fmla="*/ 316584 w 321778"/>
                    <a:gd name="connsiteY3" fmla="*/ 131022 h 131021"/>
                    <a:gd name="connsiteX4" fmla="*/ 321708 w 321778"/>
                    <a:gd name="connsiteY4" fmla="*/ 125899 h 131021"/>
                    <a:gd name="connsiteX5" fmla="*/ 321708 w 321778"/>
                    <a:gd name="connsiteY5" fmla="*/ 95545 h 131021"/>
                    <a:gd name="connsiteX6" fmla="*/ 297050 w 321778"/>
                    <a:gd name="connsiteY6" fmla="*/ 27921 h 131021"/>
                    <a:gd name="connsiteX7" fmla="*/ 220963 w 321778"/>
                    <a:gd name="connsiteY7" fmla="*/ 0 h 131021"/>
                    <a:gd name="connsiteX8" fmla="*/ 100877 w 321778"/>
                    <a:gd name="connsiteY8" fmla="*/ 0 h 131021"/>
                    <a:gd name="connsiteX9" fmla="*/ 24790 w 321778"/>
                    <a:gd name="connsiteY9" fmla="*/ 27921 h 131021"/>
                    <a:gd name="connsiteX10" fmla="*/ 68 w 321778"/>
                    <a:gd name="connsiteY10" fmla="*/ 95545 h 131021"/>
                    <a:gd name="connsiteX11" fmla="*/ 10380 w 321778"/>
                    <a:gd name="connsiteY11" fmla="*/ 95801 h 131021"/>
                    <a:gd name="connsiteX12" fmla="*/ 32219 w 321778"/>
                    <a:gd name="connsiteY12" fmla="*/ 35349 h 131021"/>
                    <a:gd name="connsiteX13" fmla="*/ 100877 w 321778"/>
                    <a:gd name="connsiteY13" fmla="*/ 10566 h 131021"/>
                    <a:gd name="connsiteX14" fmla="*/ 221219 w 321778"/>
                    <a:gd name="connsiteY14" fmla="*/ 10566 h 131021"/>
                    <a:gd name="connsiteX15" fmla="*/ 289876 w 321778"/>
                    <a:gd name="connsiteY15" fmla="*/ 35349 h 131021"/>
                    <a:gd name="connsiteX16" fmla="*/ 311716 w 321778"/>
                    <a:gd name="connsiteY16" fmla="*/ 95801 h 131021"/>
                    <a:gd name="connsiteX17" fmla="*/ 311716 w 321778"/>
                    <a:gd name="connsiteY17" fmla="*/ 120776 h 131021"/>
                    <a:gd name="connsiteX18" fmla="*/ 10700 w 321778"/>
                    <a:gd name="connsiteY18" fmla="*/ 120776 h 1310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321778" h="131021">
                      <a:moveTo>
                        <a:pt x="68" y="125899"/>
                      </a:moveTo>
                      <a:cubicBezTo>
                        <a:pt x="68" y="128729"/>
                        <a:pt x="2361" y="131022"/>
                        <a:pt x="5192" y="131022"/>
                      </a:cubicBezTo>
                      <a:cubicBezTo>
                        <a:pt x="5211" y="131022"/>
                        <a:pt x="5236" y="131022"/>
                        <a:pt x="5256" y="131022"/>
                      </a:cubicBezTo>
                      <a:lnTo>
                        <a:pt x="316584" y="131022"/>
                      </a:lnTo>
                      <a:cubicBezTo>
                        <a:pt x="319415" y="131022"/>
                        <a:pt x="321708" y="128729"/>
                        <a:pt x="321708" y="125899"/>
                      </a:cubicBezTo>
                      <a:lnTo>
                        <a:pt x="321708" y="95545"/>
                      </a:lnTo>
                      <a:cubicBezTo>
                        <a:pt x="322668" y="70647"/>
                        <a:pt x="313811" y="46364"/>
                        <a:pt x="297050" y="27921"/>
                      </a:cubicBezTo>
                      <a:cubicBezTo>
                        <a:pt x="279437" y="9670"/>
                        <a:pt x="253114" y="0"/>
                        <a:pt x="220963" y="0"/>
                      </a:cubicBezTo>
                      <a:lnTo>
                        <a:pt x="100877" y="0"/>
                      </a:lnTo>
                      <a:cubicBezTo>
                        <a:pt x="68854" y="0"/>
                        <a:pt x="42403" y="9670"/>
                        <a:pt x="24790" y="27921"/>
                      </a:cubicBezTo>
                      <a:cubicBezTo>
                        <a:pt x="8003" y="46351"/>
                        <a:pt x="-873" y="70634"/>
                        <a:pt x="68" y="95545"/>
                      </a:cubicBezTo>
                      <a:close/>
                      <a:moveTo>
                        <a:pt x="10380" y="95801"/>
                      </a:moveTo>
                      <a:cubicBezTo>
                        <a:pt x="9445" y="73567"/>
                        <a:pt x="17284" y="51852"/>
                        <a:pt x="32219" y="35349"/>
                      </a:cubicBezTo>
                      <a:cubicBezTo>
                        <a:pt x="48039" y="18891"/>
                        <a:pt x="71159" y="10566"/>
                        <a:pt x="100877" y="10566"/>
                      </a:cubicBezTo>
                      <a:lnTo>
                        <a:pt x="221219" y="10566"/>
                      </a:lnTo>
                      <a:cubicBezTo>
                        <a:pt x="250937" y="10566"/>
                        <a:pt x="274057" y="18891"/>
                        <a:pt x="289876" y="35349"/>
                      </a:cubicBezTo>
                      <a:cubicBezTo>
                        <a:pt x="304812" y="51852"/>
                        <a:pt x="312651" y="73567"/>
                        <a:pt x="311716" y="95801"/>
                      </a:cubicBezTo>
                      <a:lnTo>
                        <a:pt x="311716" y="120776"/>
                      </a:lnTo>
                      <a:lnTo>
                        <a:pt x="10700" y="120776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0066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86179"/>
                    </a:solidFill>
                    <a:effectLst/>
                    <a:uLnTx/>
                    <a:uFillTx/>
                    <a:latin typeface="Arial" panose="020B0604020202020204"/>
                  </a:endParaRPr>
                </a:p>
              </p:txBody>
            </p:sp>
          </p:grpSp>
        </p:grpSp>
      </p:grpSp>
      <p:grpSp>
        <p:nvGrpSpPr>
          <p:cNvPr id="216" name="Grupo 215">
            <a:extLst>
              <a:ext uri="{FF2B5EF4-FFF2-40B4-BE49-F238E27FC236}">
                <a16:creationId xmlns:a16="http://schemas.microsoft.com/office/drawing/2014/main" id="{54AEDA6D-350E-5876-137E-54BC68ECED22}"/>
              </a:ext>
            </a:extLst>
          </p:cNvPr>
          <p:cNvGrpSpPr/>
          <p:nvPr/>
        </p:nvGrpSpPr>
        <p:grpSpPr>
          <a:xfrm>
            <a:off x="1148634" y="9021217"/>
            <a:ext cx="11266690" cy="1177859"/>
            <a:chOff x="691435" y="8999444"/>
            <a:chExt cx="11266690" cy="1177859"/>
          </a:xfrm>
        </p:grpSpPr>
        <p:sp>
          <p:nvSpPr>
            <p:cNvPr id="21" name="object 4">
              <a:extLst>
                <a:ext uri="{FF2B5EF4-FFF2-40B4-BE49-F238E27FC236}">
                  <a16:creationId xmlns:a16="http://schemas.microsoft.com/office/drawing/2014/main" id="{877B266F-8C43-D547-766B-6F40109C8BD3}"/>
                </a:ext>
              </a:extLst>
            </p:cNvPr>
            <p:cNvSpPr txBox="1"/>
            <p:nvPr/>
          </p:nvSpPr>
          <p:spPr>
            <a:xfrm>
              <a:off x="2400762" y="9378996"/>
              <a:ext cx="9557363" cy="452034"/>
            </a:xfrm>
            <a:prstGeom prst="rect">
              <a:avLst/>
            </a:prstGeom>
          </p:spPr>
          <p:txBody>
            <a:bodyPr vert="horz" wrap="square" lIns="0" tIns="20942" rIns="0" bIns="0" rtlCol="0">
              <a:spAutoFit/>
            </a:bodyPr>
            <a:lstStyle>
              <a:defPPr>
                <a:defRPr kern="0"/>
              </a:defPPr>
              <a:lvl1pPr algn="l" defTabSz="1507846" rtl="0">
                <a:defRPr sz="2800" kern="1200" spc="-8">
                  <a:solidFill>
                    <a:srgbClr val="414A60"/>
                  </a:solidFill>
                  <a:latin typeface="Telefonica" panose="00000500000000000000" pitchFamily="2" charset="0"/>
                  <a:ea typeface="+mn-ea"/>
                  <a:cs typeface="+mn-cs"/>
                </a:defRPr>
              </a:lvl1pPr>
            </a:lstStyle>
            <a:p>
              <a:pPr marL="0" marR="0" lvl="0" indent="0" algn="l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800" b="1" i="0" u="none" strike="noStrike" kern="1200" cap="none" spc="-8" normalizeH="0" baseline="0" noProof="0">
                  <a:ln>
                    <a:noFill/>
                  </a:ln>
                  <a:solidFill>
                    <a:srgbClr val="414A60"/>
                  </a:solidFill>
                  <a:effectLst/>
                  <a:uLnTx/>
                  <a:uFillTx/>
                  <a:latin typeface="Telefonica" panose="00000500000000000000" pitchFamily="2" charset="0"/>
                  <a:ea typeface="+mn-ea"/>
                  <a:cs typeface="+mn-cs"/>
                </a:rPr>
                <a:t>Gran experiencia </a:t>
              </a:r>
              <a:r>
                <a:rPr kumimoji="0" lang="es-ES" sz="2800" b="0" i="0" u="none" strike="noStrike" kern="1200" cap="none" spc="-8" normalizeH="0" baseline="0" noProof="0">
                  <a:ln>
                    <a:noFill/>
                  </a:ln>
                  <a:solidFill>
                    <a:srgbClr val="414A60"/>
                  </a:solidFill>
                  <a:effectLst/>
                  <a:uLnTx/>
                  <a:uFillTx/>
                  <a:latin typeface="Telefonica" panose="00000500000000000000" pitchFamily="2" charset="0"/>
                  <a:ea typeface="+mn-ea"/>
                  <a:cs typeface="+mn-cs"/>
                </a:rPr>
                <a:t>en proyectos de Digitalización </a:t>
              </a:r>
            </a:p>
          </p:txBody>
        </p:sp>
        <p:grpSp>
          <p:nvGrpSpPr>
            <p:cNvPr id="154" name="Grupo 153">
              <a:extLst>
                <a:ext uri="{FF2B5EF4-FFF2-40B4-BE49-F238E27FC236}">
                  <a16:creationId xmlns:a16="http://schemas.microsoft.com/office/drawing/2014/main" id="{663758DA-9301-2F22-F332-E850714B21F1}"/>
                </a:ext>
              </a:extLst>
            </p:cNvPr>
            <p:cNvGrpSpPr/>
            <p:nvPr/>
          </p:nvGrpSpPr>
          <p:grpSpPr>
            <a:xfrm>
              <a:off x="691435" y="8999444"/>
              <a:ext cx="1284514" cy="1177859"/>
              <a:chOff x="822063" y="8999448"/>
              <a:chExt cx="1284514" cy="1177859"/>
            </a:xfrm>
          </p:grpSpPr>
          <p:grpSp>
            <p:nvGrpSpPr>
              <p:cNvPr id="38" name="Grupo 37">
                <a:extLst>
                  <a:ext uri="{FF2B5EF4-FFF2-40B4-BE49-F238E27FC236}">
                    <a16:creationId xmlns:a16="http://schemas.microsoft.com/office/drawing/2014/main" id="{FE6BBF94-1064-ADD9-4E6B-787EB49B8DAB}"/>
                  </a:ext>
                </a:extLst>
              </p:cNvPr>
              <p:cNvGrpSpPr/>
              <p:nvPr/>
            </p:nvGrpSpPr>
            <p:grpSpPr>
              <a:xfrm>
                <a:off x="822063" y="8999448"/>
                <a:ext cx="1284514" cy="1177859"/>
                <a:chOff x="1016708" y="3239593"/>
                <a:chExt cx="1284514" cy="1177859"/>
              </a:xfrm>
            </p:grpSpPr>
            <p:pic>
              <p:nvPicPr>
                <p:cNvPr id="39" name="Gráfico 38">
                  <a:extLst>
                    <a:ext uri="{FF2B5EF4-FFF2-40B4-BE49-F238E27FC236}">
                      <a16:creationId xmlns:a16="http://schemas.microsoft.com/office/drawing/2014/main" id="{4B80E885-CD4B-472C-4E95-E36FE21AC69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62559" y="3335016"/>
                  <a:ext cx="992812" cy="992812"/>
                </a:xfrm>
                <a:prstGeom prst="rect">
                  <a:avLst/>
                </a:prstGeom>
              </p:spPr>
            </p:pic>
            <p:sp>
              <p:nvSpPr>
                <p:cNvPr id="41" name="object 15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A3A4DC2E-61C3-D583-6B3B-FFFF63A3B791}"/>
                    </a:ext>
                  </a:extLst>
                </p:cNvPr>
                <p:cNvSpPr/>
                <p:nvPr/>
              </p:nvSpPr>
              <p:spPr>
                <a:xfrm>
                  <a:off x="1016708" y="3239593"/>
                  <a:ext cx="1284514" cy="11778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5070" h="1196339">
                      <a:moveTo>
                        <a:pt x="597408" y="0"/>
                      </a:moveTo>
                      <a:lnTo>
                        <a:pt x="548412" y="1982"/>
                      </a:lnTo>
                      <a:lnTo>
                        <a:pt x="500506" y="7828"/>
                      </a:lnTo>
                      <a:lnTo>
                        <a:pt x="453845" y="17384"/>
                      </a:lnTo>
                      <a:lnTo>
                        <a:pt x="408583" y="30494"/>
                      </a:lnTo>
                      <a:lnTo>
                        <a:pt x="364872" y="47006"/>
                      </a:lnTo>
                      <a:lnTo>
                        <a:pt x="322867" y="66765"/>
                      </a:lnTo>
                      <a:lnTo>
                        <a:pt x="282721" y="89618"/>
                      </a:lnTo>
                      <a:lnTo>
                        <a:pt x="244589" y="115410"/>
                      </a:lnTo>
                      <a:lnTo>
                        <a:pt x="208623" y="143988"/>
                      </a:lnTo>
                      <a:lnTo>
                        <a:pt x="174979" y="175198"/>
                      </a:lnTo>
                      <a:lnTo>
                        <a:pt x="143808" y="208885"/>
                      </a:lnTo>
                      <a:lnTo>
                        <a:pt x="115266" y="244896"/>
                      </a:lnTo>
                      <a:lnTo>
                        <a:pt x="89506" y="283077"/>
                      </a:lnTo>
                      <a:lnTo>
                        <a:pt x="66682" y="323274"/>
                      </a:lnTo>
                      <a:lnTo>
                        <a:pt x="46948" y="365333"/>
                      </a:lnTo>
                      <a:lnTo>
                        <a:pt x="30456" y="409100"/>
                      </a:lnTo>
                      <a:lnTo>
                        <a:pt x="17362" y="454421"/>
                      </a:lnTo>
                      <a:lnTo>
                        <a:pt x="7819" y="501142"/>
                      </a:lnTo>
                      <a:lnTo>
                        <a:pt x="1980" y="549110"/>
                      </a:lnTo>
                      <a:lnTo>
                        <a:pt x="0" y="598170"/>
                      </a:lnTo>
                      <a:lnTo>
                        <a:pt x="1980" y="647229"/>
                      </a:lnTo>
                      <a:lnTo>
                        <a:pt x="7819" y="695197"/>
                      </a:lnTo>
                      <a:lnTo>
                        <a:pt x="17362" y="741918"/>
                      </a:lnTo>
                      <a:lnTo>
                        <a:pt x="30456" y="787239"/>
                      </a:lnTo>
                      <a:lnTo>
                        <a:pt x="46948" y="831006"/>
                      </a:lnTo>
                      <a:lnTo>
                        <a:pt x="66682" y="873065"/>
                      </a:lnTo>
                      <a:lnTo>
                        <a:pt x="89506" y="913262"/>
                      </a:lnTo>
                      <a:lnTo>
                        <a:pt x="115266" y="951443"/>
                      </a:lnTo>
                      <a:lnTo>
                        <a:pt x="143808" y="987454"/>
                      </a:lnTo>
                      <a:lnTo>
                        <a:pt x="174979" y="1021141"/>
                      </a:lnTo>
                      <a:lnTo>
                        <a:pt x="208623" y="1052351"/>
                      </a:lnTo>
                      <a:lnTo>
                        <a:pt x="244589" y="1080929"/>
                      </a:lnTo>
                      <a:lnTo>
                        <a:pt x="282721" y="1106721"/>
                      </a:lnTo>
                      <a:lnTo>
                        <a:pt x="322867" y="1129574"/>
                      </a:lnTo>
                      <a:lnTo>
                        <a:pt x="364872" y="1149333"/>
                      </a:lnTo>
                      <a:lnTo>
                        <a:pt x="408583" y="1165845"/>
                      </a:lnTo>
                      <a:lnTo>
                        <a:pt x="453845" y="1178955"/>
                      </a:lnTo>
                      <a:lnTo>
                        <a:pt x="500506" y="1188511"/>
                      </a:lnTo>
                      <a:lnTo>
                        <a:pt x="548412" y="1194357"/>
                      </a:lnTo>
                      <a:lnTo>
                        <a:pt x="597408" y="1196340"/>
                      </a:lnTo>
                      <a:lnTo>
                        <a:pt x="646403" y="1194357"/>
                      </a:lnTo>
                      <a:lnTo>
                        <a:pt x="694309" y="1188511"/>
                      </a:lnTo>
                      <a:lnTo>
                        <a:pt x="740970" y="1178955"/>
                      </a:lnTo>
                      <a:lnTo>
                        <a:pt x="786232" y="1165845"/>
                      </a:lnTo>
                      <a:lnTo>
                        <a:pt x="829943" y="1149333"/>
                      </a:lnTo>
                      <a:lnTo>
                        <a:pt x="871948" y="1129574"/>
                      </a:lnTo>
                      <a:lnTo>
                        <a:pt x="912094" y="1106721"/>
                      </a:lnTo>
                      <a:lnTo>
                        <a:pt x="950226" y="1080929"/>
                      </a:lnTo>
                      <a:lnTo>
                        <a:pt x="986192" y="1052351"/>
                      </a:lnTo>
                      <a:lnTo>
                        <a:pt x="1019836" y="1021141"/>
                      </a:lnTo>
                      <a:lnTo>
                        <a:pt x="1051007" y="987454"/>
                      </a:lnTo>
                      <a:lnTo>
                        <a:pt x="1079549" y="951443"/>
                      </a:lnTo>
                      <a:lnTo>
                        <a:pt x="1105309" y="913262"/>
                      </a:lnTo>
                      <a:lnTo>
                        <a:pt x="1128133" y="873065"/>
                      </a:lnTo>
                      <a:lnTo>
                        <a:pt x="1147867" y="831006"/>
                      </a:lnTo>
                      <a:lnTo>
                        <a:pt x="1164359" y="787239"/>
                      </a:lnTo>
                      <a:lnTo>
                        <a:pt x="1177453" y="741918"/>
                      </a:lnTo>
                      <a:lnTo>
                        <a:pt x="1186996" y="695197"/>
                      </a:lnTo>
                      <a:lnTo>
                        <a:pt x="1192835" y="647229"/>
                      </a:lnTo>
                      <a:lnTo>
                        <a:pt x="1194816" y="598170"/>
                      </a:lnTo>
                      <a:lnTo>
                        <a:pt x="1192835" y="549110"/>
                      </a:lnTo>
                      <a:lnTo>
                        <a:pt x="1186996" y="501142"/>
                      </a:lnTo>
                      <a:lnTo>
                        <a:pt x="1177453" y="454421"/>
                      </a:lnTo>
                      <a:lnTo>
                        <a:pt x="1164359" y="409100"/>
                      </a:lnTo>
                      <a:lnTo>
                        <a:pt x="1147867" y="365333"/>
                      </a:lnTo>
                      <a:lnTo>
                        <a:pt x="1128133" y="323274"/>
                      </a:lnTo>
                      <a:lnTo>
                        <a:pt x="1105309" y="283077"/>
                      </a:lnTo>
                      <a:lnTo>
                        <a:pt x="1079549" y="244896"/>
                      </a:lnTo>
                      <a:lnTo>
                        <a:pt x="1051007" y="208885"/>
                      </a:lnTo>
                      <a:lnTo>
                        <a:pt x="1019836" y="175198"/>
                      </a:lnTo>
                      <a:lnTo>
                        <a:pt x="986192" y="143988"/>
                      </a:lnTo>
                      <a:lnTo>
                        <a:pt x="950226" y="115410"/>
                      </a:lnTo>
                      <a:lnTo>
                        <a:pt x="912094" y="89618"/>
                      </a:lnTo>
                      <a:lnTo>
                        <a:pt x="871948" y="66765"/>
                      </a:lnTo>
                      <a:lnTo>
                        <a:pt x="829943" y="47006"/>
                      </a:lnTo>
                      <a:lnTo>
                        <a:pt x="786232" y="30494"/>
                      </a:lnTo>
                      <a:lnTo>
                        <a:pt x="740970" y="17384"/>
                      </a:lnTo>
                      <a:lnTo>
                        <a:pt x="694309" y="7828"/>
                      </a:lnTo>
                      <a:lnTo>
                        <a:pt x="646403" y="1982"/>
                      </a:lnTo>
                      <a:lnTo>
                        <a:pt x="597408" y="0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75" name="Grupo 74">
                <a:extLst>
                  <a:ext uri="{FF2B5EF4-FFF2-40B4-BE49-F238E27FC236}">
                    <a16:creationId xmlns:a16="http://schemas.microsoft.com/office/drawing/2014/main" id="{A3403D94-F2D7-B76B-D175-F03AD4C837ED}"/>
                  </a:ext>
                </a:extLst>
              </p:cNvPr>
              <p:cNvGrpSpPr/>
              <p:nvPr/>
            </p:nvGrpSpPr>
            <p:grpSpPr>
              <a:xfrm>
                <a:off x="1083423" y="9264377"/>
                <a:ext cx="648000" cy="648000"/>
                <a:chOff x="14524936" y="5720035"/>
                <a:chExt cx="397031" cy="396971"/>
              </a:xfrm>
            </p:grpSpPr>
            <p:sp>
              <p:nvSpPr>
                <p:cNvPr id="71" name="Graphic 363">
                  <a:extLst>
                    <a:ext uri="{FF2B5EF4-FFF2-40B4-BE49-F238E27FC236}">
                      <a16:creationId xmlns:a16="http://schemas.microsoft.com/office/drawing/2014/main" id="{17953576-4F21-7553-1D43-E318217B2BAE}"/>
                    </a:ext>
                  </a:extLst>
                </p:cNvPr>
                <p:cNvSpPr/>
                <p:nvPr/>
              </p:nvSpPr>
              <p:spPr>
                <a:xfrm>
                  <a:off x="14600415" y="5720035"/>
                  <a:ext cx="321552" cy="321278"/>
                </a:xfrm>
                <a:custGeom>
                  <a:avLst/>
                  <a:gdLst>
                    <a:gd name="connsiteX0" fmla="*/ 127620 w 321552"/>
                    <a:gd name="connsiteY0" fmla="*/ 7236 h 321278"/>
                    <a:gd name="connsiteX1" fmla="*/ 130054 w 321552"/>
                    <a:gd name="connsiteY1" fmla="*/ 19532 h 321278"/>
                    <a:gd name="connsiteX2" fmla="*/ 162077 w 321552"/>
                    <a:gd name="connsiteY2" fmla="*/ 51230 h 321278"/>
                    <a:gd name="connsiteX3" fmla="*/ 86503 w 321552"/>
                    <a:gd name="connsiteY3" fmla="*/ 126539 h 321278"/>
                    <a:gd name="connsiteX4" fmla="*/ 29310 w 321552"/>
                    <a:gd name="connsiteY4" fmla="*/ 183725 h 321278"/>
                    <a:gd name="connsiteX5" fmla="*/ 10480 w 321552"/>
                    <a:gd name="connsiteY5" fmla="*/ 202552 h 321278"/>
                    <a:gd name="connsiteX6" fmla="*/ 5164 w 321552"/>
                    <a:gd name="connsiteY6" fmla="*/ 207867 h 321278"/>
                    <a:gd name="connsiteX7" fmla="*/ 3755 w 321552"/>
                    <a:gd name="connsiteY7" fmla="*/ 209276 h 321278"/>
                    <a:gd name="connsiteX8" fmla="*/ 3435 w 321552"/>
                    <a:gd name="connsiteY8" fmla="*/ 209276 h 321278"/>
                    <a:gd name="connsiteX9" fmla="*/ 873 w 321552"/>
                    <a:gd name="connsiteY9" fmla="*/ 221700 h 321278"/>
                    <a:gd name="connsiteX10" fmla="*/ 5228 w 321552"/>
                    <a:gd name="connsiteY10" fmla="*/ 226951 h 321278"/>
                    <a:gd name="connsiteX11" fmla="*/ 94381 w 321552"/>
                    <a:gd name="connsiteY11" fmla="*/ 316027 h 321278"/>
                    <a:gd name="connsiteX12" fmla="*/ 103924 w 321552"/>
                    <a:gd name="connsiteY12" fmla="*/ 321279 h 321278"/>
                    <a:gd name="connsiteX13" fmla="*/ 112377 w 321552"/>
                    <a:gd name="connsiteY13" fmla="*/ 317500 h 321278"/>
                    <a:gd name="connsiteX14" fmla="*/ 113786 w 321552"/>
                    <a:gd name="connsiteY14" fmla="*/ 316092 h 321278"/>
                    <a:gd name="connsiteX15" fmla="*/ 119038 w 321552"/>
                    <a:gd name="connsiteY15" fmla="*/ 310840 h 321278"/>
                    <a:gd name="connsiteX16" fmla="*/ 137932 w 321552"/>
                    <a:gd name="connsiteY16" fmla="*/ 291949 h 321278"/>
                    <a:gd name="connsiteX17" fmla="*/ 195125 w 321552"/>
                    <a:gd name="connsiteY17" fmla="*/ 234763 h 321278"/>
                    <a:gd name="connsiteX18" fmla="*/ 270251 w 321552"/>
                    <a:gd name="connsiteY18" fmla="*/ 159775 h 321278"/>
                    <a:gd name="connsiteX19" fmla="*/ 302274 w 321552"/>
                    <a:gd name="connsiteY19" fmla="*/ 191794 h 321278"/>
                    <a:gd name="connsiteX20" fmla="*/ 310280 w 321552"/>
                    <a:gd name="connsiteY20" fmla="*/ 195124 h 321278"/>
                    <a:gd name="connsiteX21" fmla="*/ 314635 w 321552"/>
                    <a:gd name="connsiteY21" fmla="*/ 194227 h 321278"/>
                    <a:gd name="connsiteX22" fmla="*/ 321552 w 321552"/>
                    <a:gd name="connsiteY22" fmla="*/ 183789 h 321278"/>
                    <a:gd name="connsiteX23" fmla="*/ 321552 w 321552"/>
                    <a:gd name="connsiteY23" fmla="*/ 11271 h 321278"/>
                    <a:gd name="connsiteX24" fmla="*/ 310280 w 321552"/>
                    <a:gd name="connsiteY24" fmla="*/ 0 h 321278"/>
                    <a:gd name="connsiteX25" fmla="*/ 138060 w 321552"/>
                    <a:gd name="connsiteY25" fmla="*/ 0 h 321278"/>
                    <a:gd name="connsiteX26" fmla="*/ 127620 w 321552"/>
                    <a:gd name="connsiteY26" fmla="*/ 7236 h 321278"/>
                    <a:gd name="connsiteX27" fmla="*/ 310024 w 321552"/>
                    <a:gd name="connsiteY27" fmla="*/ 13640 h 321278"/>
                    <a:gd name="connsiteX28" fmla="*/ 310024 w 321552"/>
                    <a:gd name="connsiteY28" fmla="*/ 13640 h 321278"/>
                    <a:gd name="connsiteX29" fmla="*/ 310024 w 321552"/>
                    <a:gd name="connsiteY29" fmla="*/ 183469 h 321278"/>
                    <a:gd name="connsiteX30" fmla="*/ 270315 w 321552"/>
                    <a:gd name="connsiteY30" fmla="*/ 143829 h 321278"/>
                    <a:gd name="connsiteX31" fmla="*/ 270315 w 321552"/>
                    <a:gd name="connsiteY31" fmla="*/ 143829 h 321278"/>
                    <a:gd name="connsiteX32" fmla="*/ 103795 w 321552"/>
                    <a:gd name="connsiteY32" fmla="*/ 310328 h 321278"/>
                    <a:gd name="connsiteX33" fmla="*/ 103795 w 321552"/>
                    <a:gd name="connsiteY33" fmla="*/ 310328 h 321278"/>
                    <a:gd name="connsiteX34" fmla="*/ 11505 w 321552"/>
                    <a:gd name="connsiteY34" fmla="*/ 217473 h 321278"/>
                    <a:gd name="connsiteX35" fmla="*/ 178025 w 321552"/>
                    <a:gd name="connsiteY35" fmla="*/ 50974 h 321278"/>
                    <a:gd name="connsiteX36" fmla="*/ 138316 w 321552"/>
                    <a:gd name="connsiteY36" fmla="*/ 11271 h 321278"/>
                    <a:gd name="connsiteX37" fmla="*/ 307910 w 321552"/>
                    <a:gd name="connsiteY37" fmla="*/ 11271 h 321278"/>
                    <a:gd name="connsiteX38" fmla="*/ 310024 w 321552"/>
                    <a:gd name="connsiteY38" fmla="*/ 13896 h 321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</a:cxnLst>
                  <a:rect l="l" t="t" r="r" b="b"/>
                  <a:pathLst>
                    <a:path w="321552" h="321278">
                      <a:moveTo>
                        <a:pt x="127620" y="7236"/>
                      </a:moveTo>
                      <a:cubicBezTo>
                        <a:pt x="125891" y="11453"/>
                        <a:pt x="126852" y="16287"/>
                        <a:pt x="130054" y="19532"/>
                      </a:cubicBezTo>
                      <a:lnTo>
                        <a:pt x="162077" y="51230"/>
                      </a:lnTo>
                      <a:lnTo>
                        <a:pt x="86503" y="126539"/>
                      </a:lnTo>
                      <a:lnTo>
                        <a:pt x="29310" y="183725"/>
                      </a:lnTo>
                      <a:lnTo>
                        <a:pt x="10480" y="202552"/>
                      </a:lnTo>
                      <a:lnTo>
                        <a:pt x="5164" y="207867"/>
                      </a:lnTo>
                      <a:lnTo>
                        <a:pt x="3755" y="209276"/>
                      </a:lnTo>
                      <a:lnTo>
                        <a:pt x="3435" y="209276"/>
                      </a:lnTo>
                      <a:cubicBezTo>
                        <a:pt x="104" y="212491"/>
                        <a:pt x="-920" y="217428"/>
                        <a:pt x="873" y="221700"/>
                      </a:cubicBezTo>
                      <a:cubicBezTo>
                        <a:pt x="1706" y="223864"/>
                        <a:pt x="3243" y="225708"/>
                        <a:pt x="5228" y="226951"/>
                      </a:cubicBezTo>
                      <a:lnTo>
                        <a:pt x="94381" y="316027"/>
                      </a:lnTo>
                      <a:cubicBezTo>
                        <a:pt x="96430" y="319313"/>
                        <a:pt x="100081" y="321298"/>
                        <a:pt x="103924" y="321279"/>
                      </a:cubicBezTo>
                      <a:cubicBezTo>
                        <a:pt x="107126" y="321272"/>
                        <a:pt x="110200" y="319902"/>
                        <a:pt x="112377" y="317500"/>
                      </a:cubicBezTo>
                      <a:lnTo>
                        <a:pt x="113786" y="316092"/>
                      </a:lnTo>
                      <a:lnTo>
                        <a:pt x="119038" y="310840"/>
                      </a:lnTo>
                      <a:lnTo>
                        <a:pt x="137932" y="291949"/>
                      </a:lnTo>
                      <a:lnTo>
                        <a:pt x="195125" y="234763"/>
                      </a:lnTo>
                      <a:lnTo>
                        <a:pt x="270251" y="159775"/>
                      </a:lnTo>
                      <a:lnTo>
                        <a:pt x="302274" y="191794"/>
                      </a:lnTo>
                      <a:cubicBezTo>
                        <a:pt x="304387" y="193926"/>
                        <a:pt x="307270" y="195124"/>
                        <a:pt x="310280" y="195124"/>
                      </a:cubicBezTo>
                      <a:cubicBezTo>
                        <a:pt x="311753" y="195111"/>
                        <a:pt x="313226" y="194804"/>
                        <a:pt x="314635" y="194227"/>
                      </a:cubicBezTo>
                      <a:cubicBezTo>
                        <a:pt x="318862" y="192466"/>
                        <a:pt x="321552" y="188349"/>
                        <a:pt x="321552" y="183789"/>
                      </a:cubicBezTo>
                      <a:lnTo>
                        <a:pt x="321552" y="11271"/>
                      </a:lnTo>
                      <a:cubicBezTo>
                        <a:pt x="321552" y="5046"/>
                        <a:pt x="316492" y="0"/>
                        <a:pt x="310280" y="0"/>
                      </a:cubicBezTo>
                      <a:lnTo>
                        <a:pt x="138060" y="0"/>
                      </a:lnTo>
                      <a:cubicBezTo>
                        <a:pt x="133449" y="35"/>
                        <a:pt x="129286" y="2907"/>
                        <a:pt x="127620" y="7236"/>
                      </a:cubicBezTo>
                      <a:close/>
                      <a:moveTo>
                        <a:pt x="310024" y="13640"/>
                      </a:moveTo>
                      <a:lnTo>
                        <a:pt x="310024" y="13640"/>
                      </a:lnTo>
                      <a:lnTo>
                        <a:pt x="310024" y="183469"/>
                      </a:lnTo>
                      <a:lnTo>
                        <a:pt x="270315" y="143829"/>
                      </a:lnTo>
                      <a:lnTo>
                        <a:pt x="270315" y="143829"/>
                      </a:lnTo>
                      <a:lnTo>
                        <a:pt x="103795" y="310328"/>
                      </a:lnTo>
                      <a:lnTo>
                        <a:pt x="103795" y="310328"/>
                      </a:lnTo>
                      <a:lnTo>
                        <a:pt x="11505" y="217473"/>
                      </a:lnTo>
                      <a:lnTo>
                        <a:pt x="178025" y="50974"/>
                      </a:lnTo>
                      <a:lnTo>
                        <a:pt x="138316" y="11271"/>
                      </a:lnTo>
                      <a:lnTo>
                        <a:pt x="307910" y="11271"/>
                      </a:lnTo>
                      <a:cubicBezTo>
                        <a:pt x="309191" y="11437"/>
                        <a:pt x="310152" y="12596"/>
                        <a:pt x="310024" y="1389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404" cap="flat">
                  <a:solidFill>
                    <a:srgbClr val="0066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86179"/>
                    </a:solidFill>
                    <a:effectLst/>
                    <a:uLnTx/>
                    <a:uFillTx/>
                    <a:latin typeface="Arial" panose="020B0604020202020204"/>
                  </a:endParaRPr>
                </a:p>
              </p:txBody>
            </p:sp>
            <p:sp>
              <p:nvSpPr>
                <p:cNvPr id="72" name="Graphic 363">
                  <a:extLst>
                    <a:ext uri="{FF2B5EF4-FFF2-40B4-BE49-F238E27FC236}">
                      <a16:creationId xmlns:a16="http://schemas.microsoft.com/office/drawing/2014/main" id="{BB3E32AF-88C1-C41E-8E9F-FC161770F337}"/>
                    </a:ext>
                  </a:extLst>
                </p:cNvPr>
                <p:cNvSpPr/>
                <p:nvPr/>
              </p:nvSpPr>
              <p:spPr>
                <a:xfrm>
                  <a:off x="14524936" y="6006549"/>
                  <a:ext cx="110440" cy="110396"/>
                </a:xfrm>
                <a:custGeom>
                  <a:avLst/>
                  <a:gdLst>
                    <a:gd name="connsiteX0" fmla="*/ 5709 w 110440"/>
                    <a:gd name="connsiteY0" fmla="*/ 110393 h 110396"/>
                    <a:gd name="connsiteX1" fmla="*/ 9680 w 110440"/>
                    <a:gd name="connsiteY1" fmla="*/ 108729 h 110396"/>
                    <a:gd name="connsiteX2" fmla="*/ 108759 w 110440"/>
                    <a:gd name="connsiteY2" fmla="*/ 9662 h 110396"/>
                    <a:gd name="connsiteX3" fmla="*/ 108759 w 110440"/>
                    <a:gd name="connsiteY3" fmla="*/ 1657 h 110396"/>
                    <a:gd name="connsiteX4" fmla="*/ 100753 w 110440"/>
                    <a:gd name="connsiteY4" fmla="*/ 1657 h 110396"/>
                    <a:gd name="connsiteX5" fmla="*/ 1674 w 110440"/>
                    <a:gd name="connsiteY5" fmla="*/ 100788 h 110396"/>
                    <a:gd name="connsiteX6" fmla="*/ 1546 w 110440"/>
                    <a:gd name="connsiteY6" fmla="*/ 108575 h 110396"/>
                    <a:gd name="connsiteX7" fmla="*/ 1674 w 110440"/>
                    <a:gd name="connsiteY7" fmla="*/ 108729 h 110396"/>
                    <a:gd name="connsiteX8" fmla="*/ 5709 w 110440"/>
                    <a:gd name="connsiteY8" fmla="*/ 110393 h 110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0440" h="110396">
                      <a:moveTo>
                        <a:pt x="5709" y="110393"/>
                      </a:moveTo>
                      <a:cubicBezTo>
                        <a:pt x="7182" y="110406"/>
                        <a:pt x="8655" y="109804"/>
                        <a:pt x="9680" y="108729"/>
                      </a:cubicBezTo>
                      <a:lnTo>
                        <a:pt x="108759" y="9662"/>
                      </a:lnTo>
                      <a:cubicBezTo>
                        <a:pt x="111001" y="7452"/>
                        <a:pt x="111001" y="3866"/>
                        <a:pt x="108759" y="1657"/>
                      </a:cubicBezTo>
                      <a:cubicBezTo>
                        <a:pt x="106518" y="-552"/>
                        <a:pt x="102995" y="-552"/>
                        <a:pt x="100753" y="1657"/>
                      </a:cubicBezTo>
                      <a:lnTo>
                        <a:pt x="1674" y="100788"/>
                      </a:lnTo>
                      <a:cubicBezTo>
                        <a:pt x="-504" y="102895"/>
                        <a:pt x="-567" y="106385"/>
                        <a:pt x="1546" y="108575"/>
                      </a:cubicBezTo>
                      <a:cubicBezTo>
                        <a:pt x="1546" y="108626"/>
                        <a:pt x="1610" y="108677"/>
                        <a:pt x="1674" y="108729"/>
                      </a:cubicBezTo>
                      <a:cubicBezTo>
                        <a:pt x="2698" y="109836"/>
                        <a:pt x="4172" y="110445"/>
                        <a:pt x="5709" y="110393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404" cap="flat">
                  <a:solidFill>
                    <a:srgbClr val="0066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86179"/>
                    </a:solidFill>
                    <a:effectLst/>
                    <a:uLnTx/>
                    <a:uFillTx/>
                    <a:latin typeface="Arial" panose="020B0604020202020204"/>
                  </a:endParaRPr>
                </a:p>
              </p:txBody>
            </p:sp>
            <p:sp>
              <p:nvSpPr>
                <p:cNvPr id="73" name="Graphic 363">
                  <a:extLst>
                    <a:ext uri="{FF2B5EF4-FFF2-40B4-BE49-F238E27FC236}">
                      <a16:creationId xmlns:a16="http://schemas.microsoft.com/office/drawing/2014/main" id="{457DF993-E489-8422-7F8B-025BA6FA91BD}"/>
                    </a:ext>
                  </a:extLst>
                </p:cNvPr>
                <p:cNvSpPr/>
                <p:nvPr/>
              </p:nvSpPr>
              <p:spPr>
                <a:xfrm>
                  <a:off x="14626554" y="6052644"/>
                  <a:ext cx="63230" cy="64362"/>
                </a:xfrm>
                <a:custGeom>
                  <a:avLst/>
                  <a:gdLst>
                    <a:gd name="connsiteX0" fmla="*/ 53510 w 63230"/>
                    <a:gd name="connsiteY0" fmla="*/ 1733 h 64362"/>
                    <a:gd name="connsiteX1" fmla="*/ 1633 w 63230"/>
                    <a:gd name="connsiteY1" fmla="*/ 54757 h 64362"/>
                    <a:gd name="connsiteX2" fmla="*/ 1633 w 63230"/>
                    <a:gd name="connsiteY2" fmla="*/ 62730 h 64362"/>
                    <a:gd name="connsiteX3" fmla="*/ 5604 w 63230"/>
                    <a:gd name="connsiteY3" fmla="*/ 64362 h 64362"/>
                    <a:gd name="connsiteX4" fmla="*/ 9639 w 63230"/>
                    <a:gd name="connsiteY4" fmla="*/ 62698 h 64362"/>
                    <a:gd name="connsiteX5" fmla="*/ 61644 w 63230"/>
                    <a:gd name="connsiteY5" fmla="*/ 9546 h 64362"/>
                    <a:gd name="connsiteX6" fmla="*/ 61452 w 63230"/>
                    <a:gd name="connsiteY6" fmla="*/ 1573 h 64362"/>
                    <a:gd name="connsiteX7" fmla="*/ 53510 w 63230"/>
                    <a:gd name="connsiteY7" fmla="*/ 1733 h 64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230" h="64362">
                      <a:moveTo>
                        <a:pt x="53510" y="1733"/>
                      </a:moveTo>
                      <a:cubicBezTo>
                        <a:pt x="53510" y="1733"/>
                        <a:pt x="22704" y="33752"/>
                        <a:pt x="1633" y="54757"/>
                      </a:cubicBezTo>
                      <a:cubicBezTo>
                        <a:pt x="-544" y="56966"/>
                        <a:pt x="-544" y="60533"/>
                        <a:pt x="1633" y="62730"/>
                      </a:cubicBezTo>
                      <a:cubicBezTo>
                        <a:pt x="2722" y="63767"/>
                        <a:pt x="4131" y="64356"/>
                        <a:pt x="5604" y="64362"/>
                      </a:cubicBezTo>
                      <a:cubicBezTo>
                        <a:pt x="7141" y="64350"/>
                        <a:pt x="8550" y="63754"/>
                        <a:pt x="9639" y="62698"/>
                      </a:cubicBezTo>
                      <a:cubicBezTo>
                        <a:pt x="30774" y="41565"/>
                        <a:pt x="61324" y="9866"/>
                        <a:pt x="61644" y="9546"/>
                      </a:cubicBezTo>
                      <a:cubicBezTo>
                        <a:pt x="63822" y="7298"/>
                        <a:pt x="63757" y="3731"/>
                        <a:pt x="61452" y="1573"/>
                      </a:cubicBezTo>
                      <a:cubicBezTo>
                        <a:pt x="59210" y="-585"/>
                        <a:pt x="55688" y="-514"/>
                        <a:pt x="53510" y="1733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404" cap="flat">
                  <a:solidFill>
                    <a:srgbClr val="0066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86179"/>
                    </a:solidFill>
                    <a:effectLst/>
                    <a:uLnTx/>
                    <a:uFillTx/>
                    <a:latin typeface="Arial" panose="020B0604020202020204"/>
                  </a:endParaRPr>
                </a:p>
              </p:txBody>
            </p:sp>
            <p:sp>
              <p:nvSpPr>
                <p:cNvPr id="74" name="Graphic 363">
                  <a:extLst>
                    <a:ext uri="{FF2B5EF4-FFF2-40B4-BE49-F238E27FC236}">
                      <a16:creationId xmlns:a16="http://schemas.microsoft.com/office/drawing/2014/main" id="{AE5537F0-7C4D-3D89-0F76-E461FFE04E58}"/>
                    </a:ext>
                  </a:extLst>
                </p:cNvPr>
                <p:cNvSpPr/>
                <p:nvPr/>
              </p:nvSpPr>
              <p:spPr>
                <a:xfrm>
                  <a:off x="14526107" y="5952116"/>
                  <a:ext cx="63199" cy="64417"/>
                </a:xfrm>
                <a:custGeom>
                  <a:avLst/>
                  <a:gdLst>
                    <a:gd name="connsiteX0" fmla="*/ 5565 w 63199"/>
                    <a:gd name="connsiteY0" fmla="*/ 64417 h 64417"/>
                    <a:gd name="connsiteX1" fmla="*/ 9535 w 63199"/>
                    <a:gd name="connsiteY1" fmla="*/ 62752 h 64417"/>
                    <a:gd name="connsiteX2" fmla="*/ 61605 w 63199"/>
                    <a:gd name="connsiteY2" fmla="*/ 9601 h 64417"/>
                    <a:gd name="connsiteX3" fmla="*/ 61477 w 63199"/>
                    <a:gd name="connsiteY3" fmla="*/ 1596 h 64417"/>
                    <a:gd name="connsiteX4" fmla="*/ 53472 w 63199"/>
                    <a:gd name="connsiteY4" fmla="*/ 1724 h 64417"/>
                    <a:gd name="connsiteX5" fmla="*/ 1594 w 63199"/>
                    <a:gd name="connsiteY5" fmla="*/ 54748 h 64417"/>
                    <a:gd name="connsiteX6" fmla="*/ 1722 w 63199"/>
                    <a:gd name="connsiteY6" fmla="*/ 62810 h 64417"/>
                    <a:gd name="connsiteX7" fmla="*/ 5565 w 63199"/>
                    <a:gd name="connsiteY7" fmla="*/ 64417 h 644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3199" h="64417">
                      <a:moveTo>
                        <a:pt x="5565" y="64417"/>
                      </a:moveTo>
                      <a:cubicBezTo>
                        <a:pt x="7038" y="64417"/>
                        <a:pt x="8511" y="63815"/>
                        <a:pt x="9535" y="62752"/>
                      </a:cubicBezTo>
                      <a:cubicBezTo>
                        <a:pt x="30735" y="41620"/>
                        <a:pt x="61285" y="9921"/>
                        <a:pt x="61605" y="9601"/>
                      </a:cubicBezTo>
                      <a:cubicBezTo>
                        <a:pt x="63783" y="7353"/>
                        <a:pt x="63719" y="3773"/>
                        <a:pt x="61477" y="1596"/>
                      </a:cubicBezTo>
                      <a:cubicBezTo>
                        <a:pt x="59235" y="-581"/>
                        <a:pt x="55649" y="-524"/>
                        <a:pt x="53472" y="1724"/>
                      </a:cubicBezTo>
                      <a:cubicBezTo>
                        <a:pt x="53472" y="1724"/>
                        <a:pt x="22665" y="33743"/>
                        <a:pt x="1594" y="54748"/>
                      </a:cubicBezTo>
                      <a:cubicBezTo>
                        <a:pt x="-584" y="57008"/>
                        <a:pt x="-520" y="60613"/>
                        <a:pt x="1722" y="62810"/>
                      </a:cubicBezTo>
                      <a:cubicBezTo>
                        <a:pt x="2747" y="63809"/>
                        <a:pt x="4092" y="64385"/>
                        <a:pt x="5565" y="64417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404" cap="flat">
                  <a:solidFill>
                    <a:srgbClr val="0066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86179"/>
                    </a:solidFill>
                    <a:effectLst/>
                    <a:uLnTx/>
                    <a:uFillTx/>
                    <a:latin typeface="Arial" panose="020B0604020202020204"/>
                  </a:endParaRPr>
                </a:p>
              </p:txBody>
            </p:sp>
          </p:grpSp>
        </p:grpSp>
      </p:grpSp>
      <p:grpSp>
        <p:nvGrpSpPr>
          <p:cNvPr id="156" name="Grupo 155">
            <a:extLst>
              <a:ext uri="{FF2B5EF4-FFF2-40B4-BE49-F238E27FC236}">
                <a16:creationId xmlns:a16="http://schemas.microsoft.com/office/drawing/2014/main" id="{E2B06285-11AF-E131-2B7E-86B3F30E58AA}"/>
              </a:ext>
            </a:extLst>
          </p:cNvPr>
          <p:cNvGrpSpPr/>
          <p:nvPr/>
        </p:nvGrpSpPr>
        <p:grpSpPr>
          <a:xfrm>
            <a:off x="1148634" y="2905043"/>
            <a:ext cx="8873327" cy="1177859"/>
            <a:chOff x="822063" y="2926813"/>
            <a:chExt cx="8873327" cy="1177859"/>
          </a:xfrm>
        </p:grpSpPr>
        <p:sp>
          <p:nvSpPr>
            <p:cNvPr id="9" name="object 4">
              <a:extLst>
                <a:ext uri="{FF2B5EF4-FFF2-40B4-BE49-F238E27FC236}">
                  <a16:creationId xmlns:a16="http://schemas.microsoft.com/office/drawing/2014/main" id="{DF6D7DCC-62B6-0C7E-A25D-E0AC613EB934}"/>
                </a:ext>
              </a:extLst>
            </p:cNvPr>
            <p:cNvSpPr txBox="1"/>
            <p:nvPr/>
          </p:nvSpPr>
          <p:spPr>
            <a:xfrm>
              <a:off x="2531390" y="3159211"/>
              <a:ext cx="7164000" cy="452034"/>
            </a:xfrm>
            <a:prstGeom prst="rect">
              <a:avLst/>
            </a:prstGeom>
          </p:spPr>
          <p:txBody>
            <a:bodyPr vert="horz" wrap="square" lIns="0" tIns="20942" rIns="0" bIns="0" rtlCol="0">
              <a:spAutoFit/>
            </a:bodyPr>
            <a:lstStyle/>
            <a:p>
              <a:pPr marL="0" marR="0" lvl="0" indent="0" algn="l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800" b="1" i="0" u="none" strike="noStrike" kern="1200" cap="none" spc="-8" normalizeH="0" baseline="0" noProof="0">
                  <a:ln>
                    <a:noFill/>
                  </a:ln>
                  <a:solidFill>
                    <a:srgbClr val="414A60"/>
                  </a:solidFill>
                  <a:effectLst/>
                  <a:uLnTx/>
                  <a:uFillTx/>
                  <a:latin typeface="Telefonica" panose="00000500000000000000" pitchFamily="2" charset="0"/>
                  <a:ea typeface="+mn-ea"/>
                  <a:cs typeface="+mn-cs"/>
                </a:rPr>
                <a:t>Acompañamiento</a:t>
              </a:r>
              <a:r>
                <a:rPr kumimoji="0" lang="es-ES" sz="2800" b="0" i="0" u="none" strike="noStrike" kern="1200" cap="none" spc="-8" normalizeH="0" baseline="0" noProof="0">
                  <a:ln>
                    <a:noFill/>
                  </a:ln>
                  <a:solidFill>
                    <a:srgbClr val="414A60"/>
                  </a:solidFill>
                  <a:effectLst/>
                  <a:uLnTx/>
                  <a:uFillTx/>
                  <a:latin typeface="Telefonica" panose="00000500000000000000" pitchFamily="2" charset="0"/>
                  <a:ea typeface="+mn-ea"/>
                  <a:cs typeface="+mn-cs"/>
                </a:rPr>
                <a:t> </a:t>
              </a:r>
              <a:r>
                <a:rPr kumimoji="0" lang="es-ES" sz="2800" b="0" i="0" u="none" strike="noStrike" kern="1200" cap="none" spc="-8" normalizeH="0" baseline="0" noProof="0">
                  <a:ln>
                    <a:noFill/>
                  </a:ln>
                  <a:solidFill>
                    <a:srgbClr val="586179"/>
                  </a:solidFill>
                  <a:effectLst/>
                  <a:uLnTx/>
                  <a:uFillTx/>
                  <a:latin typeface="Telefonica" panose="00000500000000000000" pitchFamily="2" charset="0"/>
                  <a:ea typeface="+mn-ea"/>
                  <a:cs typeface="+mn-cs"/>
                </a:rPr>
                <a:t>en</a:t>
              </a:r>
              <a:r>
                <a:rPr kumimoji="0" lang="es-ES" sz="2800" b="0" i="0" u="none" strike="noStrike" kern="1200" cap="none" spc="-8" normalizeH="0" baseline="0" noProof="0">
                  <a:ln>
                    <a:noFill/>
                  </a:ln>
                  <a:solidFill>
                    <a:srgbClr val="414A60"/>
                  </a:solidFill>
                  <a:effectLst/>
                  <a:uLnTx/>
                  <a:uFillTx/>
                  <a:latin typeface="Telefonica" panose="00000500000000000000" pitchFamily="2" charset="0"/>
                  <a:ea typeface="+mn-ea"/>
                  <a:cs typeface="+mn-cs"/>
                </a:rPr>
                <a:t> todo el proceso</a:t>
              </a:r>
              <a:endParaRPr kumimoji="0" lang="es-ES" sz="2800" b="0" i="0" u="none" strike="noStrike" kern="1200" cap="none" spc="132" normalizeH="0" baseline="0" noProof="0">
                <a:ln>
                  <a:noFill/>
                </a:ln>
                <a:solidFill>
                  <a:srgbClr val="414A60"/>
                </a:solidFill>
                <a:effectLst/>
                <a:uLnTx/>
                <a:uFillTx/>
                <a:latin typeface="Telefonica" panose="00000500000000000000" pitchFamily="2" charset="0"/>
                <a:ea typeface="+mn-ea"/>
                <a:cs typeface="+mn-cs"/>
              </a:endParaRPr>
            </a:p>
          </p:txBody>
        </p:sp>
        <p:grpSp>
          <p:nvGrpSpPr>
            <p:cNvPr id="155" name="Grupo 154">
              <a:extLst>
                <a:ext uri="{FF2B5EF4-FFF2-40B4-BE49-F238E27FC236}">
                  <a16:creationId xmlns:a16="http://schemas.microsoft.com/office/drawing/2014/main" id="{FD022621-C54E-CAC3-011D-26B8C6C17405}"/>
                </a:ext>
              </a:extLst>
            </p:cNvPr>
            <p:cNvGrpSpPr/>
            <p:nvPr/>
          </p:nvGrpSpPr>
          <p:grpSpPr>
            <a:xfrm>
              <a:off x="822063" y="2926813"/>
              <a:ext cx="1284514" cy="1177859"/>
              <a:chOff x="822063" y="3035668"/>
              <a:chExt cx="1284514" cy="1177859"/>
            </a:xfrm>
          </p:grpSpPr>
          <p:grpSp>
            <p:nvGrpSpPr>
              <p:cNvPr id="22" name="Grupo 21">
                <a:extLst>
                  <a:ext uri="{FF2B5EF4-FFF2-40B4-BE49-F238E27FC236}">
                    <a16:creationId xmlns:a16="http://schemas.microsoft.com/office/drawing/2014/main" id="{61E7F6DE-7BCC-7779-ADEA-209DA2A550FA}"/>
                  </a:ext>
                </a:extLst>
              </p:cNvPr>
              <p:cNvGrpSpPr/>
              <p:nvPr/>
            </p:nvGrpSpPr>
            <p:grpSpPr>
              <a:xfrm>
                <a:off x="822063" y="3035668"/>
                <a:ext cx="1284514" cy="1177859"/>
                <a:chOff x="1016708" y="3239593"/>
                <a:chExt cx="1284514" cy="1177859"/>
              </a:xfrm>
            </p:grpSpPr>
            <p:pic>
              <p:nvPicPr>
                <p:cNvPr id="7" name="Gráfico 6">
                  <a:extLst>
                    <a:ext uri="{FF2B5EF4-FFF2-40B4-BE49-F238E27FC236}">
                      <a16:creationId xmlns:a16="http://schemas.microsoft.com/office/drawing/2014/main" id="{61F38A1C-DFE1-A5C5-78C7-B92EF2FEE0D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62559" y="3335016"/>
                  <a:ext cx="992812" cy="992812"/>
                </a:xfrm>
                <a:prstGeom prst="rect">
                  <a:avLst/>
                </a:prstGeom>
              </p:spPr>
            </p:pic>
            <p:sp>
              <p:nvSpPr>
                <p:cNvPr id="14" name="object 15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688AC7E8-4F95-01F2-FD29-B78B759B71AF}"/>
                    </a:ext>
                  </a:extLst>
                </p:cNvPr>
                <p:cNvSpPr/>
                <p:nvPr/>
              </p:nvSpPr>
              <p:spPr>
                <a:xfrm>
                  <a:off x="1016708" y="3239593"/>
                  <a:ext cx="1284514" cy="11778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5070" h="1196339">
                      <a:moveTo>
                        <a:pt x="597408" y="0"/>
                      </a:moveTo>
                      <a:lnTo>
                        <a:pt x="548412" y="1982"/>
                      </a:lnTo>
                      <a:lnTo>
                        <a:pt x="500506" y="7828"/>
                      </a:lnTo>
                      <a:lnTo>
                        <a:pt x="453845" y="17384"/>
                      </a:lnTo>
                      <a:lnTo>
                        <a:pt x="408583" y="30494"/>
                      </a:lnTo>
                      <a:lnTo>
                        <a:pt x="364872" y="47006"/>
                      </a:lnTo>
                      <a:lnTo>
                        <a:pt x="322867" y="66765"/>
                      </a:lnTo>
                      <a:lnTo>
                        <a:pt x="282721" y="89618"/>
                      </a:lnTo>
                      <a:lnTo>
                        <a:pt x="244589" y="115410"/>
                      </a:lnTo>
                      <a:lnTo>
                        <a:pt x="208623" y="143988"/>
                      </a:lnTo>
                      <a:lnTo>
                        <a:pt x="174979" y="175198"/>
                      </a:lnTo>
                      <a:lnTo>
                        <a:pt x="143808" y="208885"/>
                      </a:lnTo>
                      <a:lnTo>
                        <a:pt x="115266" y="244896"/>
                      </a:lnTo>
                      <a:lnTo>
                        <a:pt x="89506" y="283077"/>
                      </a:lnTo>
                      <a:lnTo>
                        <a:pt x="66682" y="323274"/>
                      </a:lnTo>
                      <a:lnTo>
                        <a:pt x="46948" y="365333"/>
                      </a:lnTo>
                      <a:lnTo>
                        <a:pt x="30456" y="409100"/>
                      </a:lnTo>
                      <a:lnTo>
                        <a:pt x="17362" y="454421"/>
                      </a:lnTo>
                      <a:lnTo>
                        <a:pt x="7819" y="501142"/>
                      </a:lnTo>
                      <a:lnTo>
                        <a:pt x="1980" y="549110"/>
                      </a:lnTo>
                      <a:lnTo>
                        <a:pt x="0" y="598170"/>
                      </a:lnTo>
                      <a:lnTo>
                        <a:pt x="1980" y="647229"/>
                      </a:lnTo>
                      <a:lnTo>
                        <a:pt x="7819" y="695197"/>
                      </a:lnTo>
                      <a:lnTo>
                        <a:pt x="17362" y="741918"/>
                      </a:lnTo>
                      <a:lnTo>
                        <a:pt x="30456" y="787239"/>
                      </a:lnTo>
                      <a:lnTo>
                        <a:pt x="46948" y="831006"/>
                      </a:lnTo>
                      <a:lnTo>
                        <a:pt x="66682" y="873065"/>
                      </a:lnTo>
                      <a:lnTo>
                        <a:pt x="89506" y="913262"/>
                      </a:lnTo>
                      <a:lnTo>
                        <a:pt x="115266" y="951443"/>
                      </a:lnTo>
                      <a:lnTo>
                        <a:pt x="143808" y="987454"/>
                      </a:lnTo>
                      <a:lnTo>
                        <a:pt x="174979" y="1021141"/>
                      </a:lnTo>
                      <a:lnTo>
                        <a:pt x="208623" y="1052351"/>
                      </a:lnTo>
                      <a:lnTo>
                        <a:pt x="244589" y="1080929"/>
                      </a:lnTo>
                      <a:lnTo>
                        <a:pt x="282721" y="1106721"/>
                      </a:lnTo>
                      <a:lnTo>
                        <a:pt x="322867" y="1129574"/>
                      </a:lnTo>
                      <a:lnTo>
                        <a:pt x="364872" y="1149333"/>
                      </a:lnTo>
                      <a:lnTo>
                        <a:pt x="408583" y="1165845"/>
                      </a:lnTo>
                      <a:lnTo>
                        <a:pt x="453845" y="1178955"/>
                      </a:lnTo>
                      <a:lnTo>
                        <a:pt x="500506" y="1188511"/>
                      </a:lnTo>
                      <a:lnTo>
                        <a:pt x="548412" y="1194357"/>
                      </a:lnTo>
                      <a:lnTo>
                        <a:pt x="597408" y="1196340"/>
                      </a:lnTo>
                      <a:lnTo>
                        <a:pt x="646403" y="1194357"/>
                      </a:lnTo>
                      <a:lnTo>
                        <a:pt x="694309" y="1188511"/>
                      </a:lnTo>
                      <a:lnTo>
                        <a:pt x="740970" y="1178955"/>
                      </a:lnTo>
                      <a:lnTo>
                        <a:pt x="786232" y="1165845"/>
                      </a:lnTo>
                      <a:lnTo>
                        <a:pt x="829943" y="1149333"/>
                      </a:lnTo>
                      <a:lnTo>
                        <a:pt x="871948" y="1129574"/>
                      </a:lnTo>
                      <a:lnTo>
                        <a:pt x="912094" y="1106721"/>
                      </a:lnTo>
                      <a:lnTo>
                        <a:pt x="950226" y="1080929"/>
                      </a:lnTo>
                      <a:lnTo>
                        <a:pt x="986192" y="1052351"/>
                      </a:lnTo>
                      <a:lnTo>
                        <a:pt x="1019836" y="1021141"/>
                      </a:lnTo>
                      <a:lnTo>
                        <a:pt x="1051007" y="987454"/>
                      </a:lnTo>
                      <a:lnTo>
                        <a:pt x="1079549" y="951443"/>
                      </a:lnTo>
                      <a:lnTo>
                        <a:pt x="1105309" y="913262"/>
                      </a:lnTo>
                      <a:lnTo>
                        <a:pt x="1128133" y="873065"/>
                      </a:lnTo>
                      <a:lnTo>
                        <a:pt x="1147867" y="831006"/>
                      </a:lnTo>
                      <a:lnTo>
                        <a:pt x="1164359" y="787239"/>
                      </a:lnTo>
                      <a:lnTo>
                        <a:pt x="1177453" y="741918"/>
                      </a:lnTo>
                      <a:lnTo>
                        <a:pt x="1186996" y="695197"/>
                      </a:lnTo>
                      <a:lnTo>
                        <a:pt x="1192835" y="647229"/>
                      </a:lnTo>
                      <a:lnTo>
                        <a:pt x="1194816" y="598170"/>
                      </a:lnTo>
                      <a:lnTo>
                        <a:pt x="1192835" y="549110"/>
                      </a:lnTo>
                      <a:lnTo>
                        <a:pt x="1186996" y="501142"/>
                      </a:lnTo>
                      <a:lnTo>
                        <a:pt x="1177453" y="454421"/>
                      </a:lnTo>
                      <a:lnTo>
                        <a:pt x="1164359" y="409100"/>
                      </a:lnTo>
                      <a:lnTo>
                        <a:pt x="1147867" y="365333"/>
                      </a:lnTo>
                      <a:lnTo>
                        <a:pt x="1128133" y="323274"/>
                      </a:lnTo>
                      <a:lnTo>
                        <a:pt x="1105309" y="283077"/>
                      </a:lnTo>
                      <a:lnTo>
                        <a:pt x="1079549" y="244896"/>
                      </a:lnTo>
                      <a:lnTo>
                        <a:pt x="1051007" y="208885"/>
                      </a:lnTo>
                      <a:lnTo>
                        <a:pt x="1019836" y="175198"/>
                      </a:lnTo>
                      <a:lnTo>
                        <a:pt x="986192" y="143988"/>
                      </a:lnTo>
                      <a:lnTo>
                        <a:pt x="950226" y="115410"/>
                      </a:lnTo>
                      <a:lnTo>
                        <a:pt x="912094" y="89618"/>
                      </a:lnTo>
                      <a:lnTo>
                        <a:pt x="871948" y="66765"/>
                      </a:lnTo>
                      <a:lnTo>
                        <a:pt x="829943" y="47006"/>
                      </a:lnTo>
                      <a:lnTo>
                        <a:pt x="786232" y="30494"/>
                      </a:lnTo>
                      <a:lnTo>
                        <a:pt x="740970" y="17384"/>
                      </a:lnTo>
                      <a:lnTo>
                        <a:pt x="694309" y="7828"/>
                      </a:lnTo>
                      <a:lnTo>
                        <a:pt x="646403" y="1982"/>
                      </a:lnTo>
                      <a:lnTo>
                        <a:pt x="597408" y="0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77" name="Gráfico 76" descr="Cuidado contorno">
                <a:extLst>
                  <a:ext uri="{FF2B5EF4-FFF2-40B4-BE49-F238E27FC236}">
                    <a16:creationId xmlns:a16="http://schemas.microsoft.com/office/drawing/2014/main" id="{50775C8D-08CC-A28F-4BC0-C1EEE3C108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046326" y="3104779"/>
                <a:ext cx="914400" cy="914400"/>
              </a:xfrm>
              <a:prstGeom prst="rect">
                <a:avLst/>
              </a:prstGeom>
            </p:spPr>
          </p:pic>
        </p:grpSp>
      </p:grpSp>
      <p:grpSp>
        <p:nvGrpSpPr>
          <p:cNvPr id="215" name="Grupo 214">
            <a:extLst>
              <a:ext uri="{FF2B5EF4-FFF2-40B4-BE49-F238E27FC236}">
                <a16:creationId xmlns:a16="http://schemas.microsoft.com/office/drawing/2014/main" id="{153F89D0-275A-7863-E296-99508A5B9E9C}"/>
              </a:ext>
            </a:extLst>
          </p:cNvPr>
          <p:cNvGrpSpPr/>
          <p:nvPr/>
        </p:nvGrpSpPr>
        <p:grpSpPr>
          <a:xfrm>
            <a:off x="1148634" y="7486730"/>
            <a:ext cx="11266690" cy="1177859"/>
            <a:chOff x="691435" y="7464957"/>
            <a:chExt cx="11266690" cy="1177859"/>
          </a:xfrm>
        </p:grpSpPr>
        <p:sp>
          <p:nvSpPr>
            <p:cNvPr id="20" name="object 4">
              <a:extLst>
                <a:ext uri="{FF2B5EF4-FFF2-40B4-BE49-F238E27FC236}">
                  <a16:creationId xmlns:a16="http://schemas.microsoft.com/office/drawing/2014/main" id="{B931BD2C-86FE-F2E2-1B95-5E5A12D0F521}"/>
                </a:ext>
              </a:extLst>
            </p:cNvPr>
            <p:cNvSpPr txBox="1"/>
            <p:nvPr/>
          </p:nvSpPr>
          <p:spPr>
            <a:xfrm>
              <a:off x="2400762" y="7816592"/>
              <a:ext cx="9557363" cy="452034"/>
            </a:xfrm>
            <a:prstGeom prst="rect">
              <a:avLst/>
            </a:prstGeom>
          </p:spPr>
          <p:txBody>
            <a:bodyPr vert="horz" wrap="square" lIns="0" tIns="20942" rIns="0" bIns="0" rtlCol="0">
              <a:spAutoFit/>
            </a:bodyPr>
            <a:lstStyle>
              <a:defPPr>
                <a:defRPr kern="0"/>
              </a:defPPr>
              <a:lvl1pPr algn="l" defTabSz="1507846" rtl="0">
                <a:defRPr sz="2800" kern="1200" spc="-8">
                  <a:solidFill>
                    <a:srgbClr val="414A60"/>
                  </a:solidFill>
                  <a:latin typeface="Telefonica" panose="00000500000000000000" pitchFamily="2" charset="0"/>
                  <a:ea typeface="+mn-ea"/>
                  <a:cs typeface="+mn-cs"/>
                </a:defRPr>
              </a:lvl1pPr>
            </a:lstStyle>
            <a:p>
              <a:pPr marL="0" marR="0" lvl="0" indent="0" algn="l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800" b="1" i="0" u="none" strike="noStrike" kern="1200" cap="none" spc="-8" normalizeH="0" baseline="0" noProof="0">
                  <a:ln>
                    <a:noFill/>
                  </a:ln>
                  <a:solidFill>
                    <a:srgbClr val="414A60"/>
                  </a:solidFill>
                  <a:effectLst/>
                  <a:uLnTx/>
                  <a:uFillTx/>
                  <a:latin typeface="Telefonica" panose="00000500000000000000" pitchFamily="2" charset="0"/>
                  <a:ea typeface="+mn-ea"/>
                  <a:cs typeface="+mn-cs"/>
                </a:rPr>
                <a:t>Consultoría profesional </a:t>
              </a:r>
              <a:r>
                <a:rPr kumimoji="0" lang="es-ES" sz="2800" b="0" i="0" u="none" strike="noStrike" kern="1200" cap="none" spc="-8" normalizeH="0" baseline="0" noProof="0">
                  <a:ln>
                    <a:noFill/>
                  </a:ln>
                  <a:solidFill>
                    <a:srgbClr val="414A60"/>
                  </a:solidFill>
                  <a:effectLst/>
                  <a:uLnTx/>
                  <a:uFillTx/>
                  <a:latin typeface="Telefonica" panose="00000500000000000000" pitchFamily="2" charset="0"/>
                  <a:ea typeface="+mn-ea"/>
                  <a:cs typeface="+mn-cs"/>
                </a:rPr>
                <a:t>de Digitalización</a:t>
              </a:r>
            </a:p>
          </p:txBody>
        </p:sp>
        <p:grpSp>
          <p:nvGrpSpPr>
            <p:cNvPr id="180" name="Grupo 179">
              <a:extLst>
                <a:ext uri="{FF2B5EF4-FFF2-40B4-BE49-F238E27FC236}">
                  <a16:creationId xmlns:a16="http://schemas.microsoft.com/office/drawing/2014/main" id="{8BD32900-057B-0505-2E12-A4AB425D53DC}"/>
                </a:ext>
              </a:extLst>
            </p:cNvPr>
            <p:cNvGrpSpPr/>
            <p:nvPr/>
          </p:nvGrpSpPr>
          <p:grpSpPr>
            <a:xfrm>
              <a:off x="691435" y="7464957"/>
              <a:ext cx="1284514" cy="1177859"/>
              <a:chOff x="691435" y="7464957"/>
              <a:chExt cx="1284514" cy="1177859"/>
            </a:xfrm>
          </p:grpSpPr>
          <p:grpSp>
            <p:nvGrpSpPr>
              <p:cNvPr id="33" name="Grupo 32">
                <a:extLst>
                  <a:ext uri="{FF2B5EF4-FFF2-40B4-BE49-F238E27FC236}">
                    <a16:creationId xmlns:a16="http://schemas.microsoft.com/office/drawing/2014/main" id="{D7BA1896-5AE5-43CA-CD7C-0F001E2F0F1D}"/>
                  </a:ext>
                </a:extLst>
              </p:cNvPr>
              <p:cNvGrpSpPr/>
              <p:nvPr/>
            </p:nvGrpSpPr>
            <p:grpSpPr>
              <a:xfrm>
                <a:off x="691435" y="7464957"/>
                <a:ext cx="1284514" cy="1177859"/>
                <a:chOff x="1016708" y="3261364"/>
                <a:chExt cx="1284514" cy="1177859"/>
              </a:xfrm>
            </p:grpSpPr>
            <p:pic>
              <p:nvPicPr>
                <p:cNvPr id="34" name="Gráfico 33">
                  <a:extLst>
                    <a:ext uri="{FF2B5EF4-FFF2-40B4-BE49-F238E27FC236}">
                      <a16:creationId xmlns:a16="http://schemas.microsoft.com/office/drawing/2014/main" id="{E09080C3-79A4-E7DB-41CA-9DB8CA96314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62559" y="3335016"/>
                  <a:ext cx="992812" cy="992812"/>
                </a:xfrm>
                <a:prstGeom prst="rect">
                  <a:avLst/>
                </a:prstGeom>
              </p:spPr>
            </p:pic>
            <p:sp>
              <p:nvSpPr>
                <p:cNvPr id="36" name="object 15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230C4921-ADD5-F356-CB0F-38397483540A}"/>
                    </a:ext>
                  </a:extLst>
                </p:cNvPr>
                <p:cNvSpPr/>
                <p:nvPr/>
              </p:nvSpPr>
              <p:spPr>
                <a:xfrm>
                  <a:off x="1016708" y="3261364"/>
                  <a:ext cx="1284514" cy="11778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5070" h="1196339">
                      <a:moveTo>
                        <a:pt x="597408" y="0"/>
                      </a:moveTo>
                      <a:lnTo>
                        <a:pt x="548412" y="1982"/>
                      </a:lnTo>
                      <a:lnTo>
                        <a:pt x="500506" y="7828"/>
                      </a:lnTo>
                      <a:lnTo>
                        <a:pt x="453845" y="17384"/>
                      </a:lnTo>
                      <a:lnTo>
                        <a:pt x="408583" y="30494"/>
                      </a:lnTo>
                      <a:lnTo>
                        <a:pt x="364872" y="47006"/>
                      </a:lnTo>
                      <a:lnTo>
                        <a:pt x="322867" y="66765"/>
                      </a:lnTo>
                      <a:lnTo>
                        <a:pt x="282721" y="89618"/>
                      </a:lnTo>
                      <a:lnTo>
                        <a:pt x="244589" y="115410"/>
                      </a:lnTo>
                      <a:lnTo>
                        <a:pt x="208623" y="143988"/>
                      </a:lnTo>
                      <a:lnTo>
                        <a:pt x="174979" y="175198"/>
                      </a:lnTo>
                      <a:lnTo>
                        <a:pt x="143808" y="208885"/>
                      </a:lnTo>
                      <a:lnTo>
                        <a:pt x="115266" y="244896"/>
                      </a:lnTo>
                      <a:lnTo>
                        <a:pt x="89506" y="283077"/>
                      </a:lnTo>
                      <a:lnTo>
                        <a:pt x="66682" y="323274"/>
                      </a:lnTo>
                      <a:lnTo>
                        <a:pt x="46948" y="365333"/>
                      </a:lnTo>
                      <a:lnTo>
                        <a:pt x="30456" y="409100"/>
                      </a:lnTo>
                      <a:lnTo>
                        <a:pt x="17362" y="454421"/>
                      </a:lnTo>
                      <a:lnTo>
                        <a:pt x="7819" y="501142"/>
                      </a:lnTo>
                      <a:lnTo>
                        <a:pt x="1980" y="549110"/>
                      </a:lnTo>
                      <a:lnTo>
                        <a:pt x="0" y="598170"/>
                      </a:lnTo>
                      <a:lnTo>
                        <a:pt x="1980" y="647229"/>
                      </a:lnTo>
                      <a:lnTo>
                        <a:pt x="7819" y="695197"/>
                      </a:lnTo>
                      <a:lnTo>
                        <a:pt x="17362" y="741918"/>
                      </a:lnTo>
                      <a:lnTo>
                        <a:pt x="30456" y="787239"/>
                      </a:lnTo>
                      <a:lnTo>
                        <a:pt x="46948" y="831006"/>
                      </a:lnTo>
                      <a:lnTo>
                        <a:pt x="66682" y="873065"/>
                      </a:lnTo>
                      <a:lnTo>
                        <a:pt x="89506" y="913262"/>
                      </a:lnTo>
                      <a:lnTo>
                        <a:pt x="115266" y="951443"/>
                      </a:lnTo>
                      <a:lnTo>
                        <a:pt x="143808" y="987454"/>
                      </a:lnTo>
                      <a:lnTo>
                        <a:pt x="174979" y="1021141"/>
                      </a:lnTo>
                      <a:lnTo>
                        <a:pt x="208623" y="1052351"/>
                      </a:lnTo>
                      <a:lnTo>
                        <a:pt x="244589" y="1080929"/>
                      </a:lnTo>
                      <a:lnTo>
                        <a:pt x="282721" y="1106721"/>
                      </a:lnTo>
                      <a:lnTo>
                        <a:pt x="322867" y="1129574"/>
                      </a:lnTo>
                      <a:lnTo>
                        <a:pt x="364872" y="1149333"/>
                      </a:lnTo>
                      <a:lnTo>
                        <a:pt x="408583" y="1165845"/>
                      </a:lnTo>
                      <a:lnTo>
                        <a:pt x="453845" y="1178955"/>
                      </a:lnTo>
                      <a:lnTo>
                        <a:pt x="500506" y="1188511"/>
                      </a:lnTo>
                      <a:lnTo>
                        <a:pt x="548412" y="1194357"/>
                      </a:lnTo>
                      <a:lnTo>
                        <a:pt x="597408" y="1196340"/>
                      </a:lnTo>
                      <a:lnTo>
                        <a:pt x="646403" y="1194357"/>
                      </a:lnTo>
                      <a:lnTo>
                        <a:pt x="694309" y="1188511"/>
                      </a:lnTo>
                      <a:lnTo>
                        <a:pt x="740970" y="1178955"/>
                      </a:lnTo>
                      <a:lnTo>
                        <a:pt x="786232" y="1165845"/>
                      </a:lnTo>
                      <a:lnTo>
                        <a:pt x="829943" y="1149333"/>
                      </a:lnTo>
                      <a:lnTo>
                        <a:pt x="871948" y="1129574"/>
                      </a:lnTo>
                      <a:lnTo>
                        <a:pt x="912094" y="1106721"/>
                      </a:lnTo>
                      <a:lnTo>
                        <a:pt x="950226" y="1080929"/>
                      </a:lnTo>
                      <a:lnTo>
                        <a:pt x="986192" y="1052351"/>
                      </a:lnTo>
                      <a:lnTo>
                        <a:pt x="1019836" y="1021141"/>
                      </a:lnTo>
                      <a:lnTo>
                        <a:pt x="1051007" y="987454"/>
                      </a:lnTo>
                      <a:lnTo>
                        <a:pt x="1079549" y="951443"/>
                      </a:lnTo>
                      <a:lnTo>
                        <a:pt x="1105309" y="913262"/>
                      </a:lnTo>
                      <a:lnTo>
                        <a:pt x="1128133" y="873065"/>
                      </a:lnTo>
                      <a:lnTo>
                        <a:pt x="1147867" y="831006"/>
                      </a:lnTo>
                      <a:lnTo>
                        <a:pt x="1164359" y="787239"/>
                      </a:lnTo>
                      <a:lnTo>
                        <a:pt x="1177453" y="741918"/>
                      </a:lnTo>
                      <a:lnTo>
                        <a:pt x="1186996" y="695197"/>
                      </a:lnTo>
                      <a:lnTo>
                        <a:pt x="1192835" y="647229"/>
                      </a:lnTo>
                      <a:lnTo>
                        <a:pt x="1194816" y="598170"/>
                      </a:lnTo>
                      <a:lnTo>
                        <a:pt x="1192835" y="549110"/>
                      </a:lnTo>
                      <a:lnTo>
                        <a:pt x="1186996" y="501142"/>
                      </a:lnTo>
                      <a:lnTo>
                        <a:pt x="1177453" y="454421"/>
                      </a:lnTo>
                      <a:lnTo>
                        <a:pt x="1164359" y="409100"/>
                      </a:lnTo>
                      <a:lnTo>
                        <a:pt x="1147867" y="365333"/>
                      </a:lnTo>
                      <a:lnTo>
                        <a:pt x="1128133" y="323274"/>
                      </a:lnTo>
                      <a:lnTo>
                        <a:pt x="1105309" y="283077"/>
                      </a:lnTo>
                      <a:lnTo>
                        <a:pt x="1079549" y="244896"/>
                      </a:lnTo>
                      <a:lnTo>
                        <a:pt x="1051007" y="208885"/>
                      </a:lnTo>
                      <a:lnTo>
                        <a:pt x="1019836" y="175198"/>
                      </a:lnTo>
                      <a:lnTo>
                        <a:pt x="986192" y="143988"/>
                      </a:lnTo>
                      <a:lnTo>
                        <a:pt x="950226" y="115410"/>
                      </a:lnTo>
                      <a:lnTo>
                        <a:pt x="912094" y="89618"/>
                      </a:lnTo>
                      <a:lnTo>
                        <a:pt x="871948" y="66765"/>
                      </a:lnTo>
                      <a:lnTo>
                        <a:pt x="829943" y="47006"/>
                      </a:lnTo>
                      <a:lnTo>
                        <a:pt x="786232" y="30494"/>
                      </a:lnTo>
                      <a:lnTo>
                        <a:pt x="740970" y="17384"/>
                      </a:lnTo>
                      <a:lnTo>
                        <a:pt x="694309" y="7828"/>
                      </a:lnTo>
                      <a:lnTo>
                        <a:pt x="646403" y="1982"/>
                      </a:lnTo>
                      <a:lnTo>
                        <a:pt x="597408" y="0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179" name="Gráfico 178" descr="Maletín contorno">
                <a:extLst>
                  <a:ext uri="{FF2B5EF4-FFF2-40B4-BE49-F238E27FC236}">
                    <a16:creationId xmlns:a16="http://schemas.microsoft.com/office/drawing/2014/main" id="{1732977B-0472-DCF9-C9AD-7517591493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882069" y="7578093"/>
                <a:ext cx="914400" cy="914400"/>
              </a:xfrm>
              <a:prstGeom prst="rect">
                <a:avLst/>
              </a:prstGeom>
            </p:spPr>
          </p:pic>
        </p:grpSp>
      </p:grpSp>
      <p:grpSp>
        <p:nvGrpSpPr>
          <p:cNvPr id="195" name="Grupo 194">
            <a:extLst>
              <a:ext uri="{FF2B5EF4-FFF2-40B4-BE49-F238E27FC236}">
                <a16:creationId xmlns:a16="http://schemas.microsoft.com/office/drawing/2014/main" id="{0428B529-C1C4-25B2-C2FF-C41834DD30A6}"/>
              </a:ext>
            </a:extLst>
          </p:cNvPr>
          <p:cNvGrpSpPr/>
          <p:nvPr/>
        </p:nvGrpSpPr>
        <p:grpSpPr>
          <a:xfrm>
            <a:off x="10292632" y="3362238"/>
            <a:ext cx="9403060" cy="1177859"/>
            <a:chOff x="9748349" y="2883269"/>
            <a:chExt cx="9403060" cy="1177859"/>
          </a:xfrm>
        </p:grpSpPr>
        <p:sp>
          <p:nvSpPr>
            <p:cNvPr id="158" name="object 4">
              <a:extLst>
                <a:ext uri="{FF2B5EF4-FFF2-40B4-BE49-F238E27FC236}">
                  <a16:creationId xmlns:a16="http://schemas.microsoft.com/office/drawing/2014/main" id="{D1AAAA0A-6240-8E64-62DA-D1207E7FD105}"/>
                </a:ext>
              </a:extLst>
            </p:cNvPr>
            <p:cNvSpPr txBox="1"/>
            <p:nvPr/>
          </p:nvSpPr>
          <p:spPr>
            <a:xfrm>
              <a:off x="11559722" y="3115667"/>
              <a:ext cx="7591687" cy="882921"/>
            </a:xfrm>
            <a:prstGeom prst="rect">
              <a:avLst/>
            </a:prstGeom>
          </p:spPr>
          <p:txBody>
            <a:bodyPr vert="horz" wrap="square" lIns="0" tIns="20942" rIns="0" bIns="0" rtlCol="0">
              <a:spAutoFit/>
            </a:bodyPr>
            <a:lstStyle/>
            <a:p>
              <a:pPr marL="0" marR="0" lvl="0" indent="0" algn="l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800" b="1" i="0" u="none" strike="noStrike" kern="1200" cap="none" spc="-8" normalizeH="0" baseline="0" noProof="0">
                  <a:ln>
                    <a:noFill/>
                  </a:ln>
                  <a:solidFill>
                    <a:srgbClr val="414A60"/>
                  </a:solidFill>
                  <a:effectLst/>
                  <a:uLnTx/>
                  <a:uFillTx/>
                  <a:latin typeface="Telefonica" panose="00000500000000000000" pitchFamily="2" charset="0"/>
                  <a:ea typeface="+mn-ea"/>
                  <a:cs typeface="+mn-cs"/>
                </a:rPr>
                <a:t>Mejor equipo de expertos </a:t>
              </a:r>
              <a:r>
                <a:rPr kumimoji="0" lang="es-ES" sz="2800" b="0" i="0" u="none" strike="noStrike" kern="1200" cap="none" spc="-8" normalizeH="0" baseline="0" noProof="0">
                  <a:ln>
                    <a:noFill/>
                  </a:ln>
                  <a:solidFill>
                    <a:srgbClr val="414A60"/>
                  </a:solidFill>
                  <a:effectLst/>
                  <a:uLnTx/>
                  <a:uFillTx/>
                  <a:latin typeface="Telefonica" panose="00000500000000000000" pitchFamily="2" charset="0"/>
                  <a:ea typeface="+mn-ea"/>
                  <a:cs typeface="+mn-cs"/>
                </a:rPr>
                <a:t>en tecnología innovadora</a:t>
              </a:r>
              <a:endParaRPr kumimoji="0" lang="es-ES" sz="2800" b="0" i="0" u="none" strike="noStrike" kern="1200" cap="none" spc="132" normalizeH="0" baseline="0" noProof="0">
                <a:ln>
                  <a:noFill/>
                </a:ln>
                <a:solidFill>
                  <a:srgbClr val="414A60"/>
                </a:solidFill>
                <a:effectLst/>
                <a:uLnTx/>
                <a:uFillTx/>
                <a:latin typeface="Telefonica" panose="00000500000000000000" pitchFamily="2" charset="0"/>
                <a:ea typeface="+mn-ea"/>
                <a:cs typeface="+mn-cs"/>
              </a:endParaRPr>
            </a:p>
          </p:txBody>
        </p:sp>
        <p:grpSp>
          <p:nvGrpSpPr>
            <p:cNvPr id="182" name="Grupo 181">
              <a:extLst>
                <a:ext uri="{FF2B5EF4-FFF2-40B4-BE49-F238E27FC236}">
                  <a16:creationId xmlns:a16="http://schemas.microsoft.com/office/drawing/2014/main" id="{D1531A62-1F2C-C25E-B5E3-F07C2EFEEF8B}"/>
                </a:ext>
              </a:extLst>
            </p:cNvPr>
            <p:cNvGrpSpPr/>
            <p:nvPr/>
          </p:nvGrpSpPr>
          <p:grpSpPr>
            <a:xfrm>
              <a:off x="9748349" y="2883269"/>
              <a:ext cx="1361199" cy="1177859"/>
              <a:chOff x="9748349" y="2883269"/>
              <a:chExt cx="1361199" cy="1177859"/>
            </a:xfrm>
          </p:grpSpPr>
          <p:grpSp>
            <p:nvGrpSpPr>
              <p:cNvPr id="160" name="Grupo 159">
                <a:extLst>
                  <a:ext uri="{FF2B5EF4-FFF2-40B4-BE49-F238E27FC236}">
                    <a16:creationId xmlns:a16="http://schemas.microsoft.com/office/drawing/2014/main" id="{55EF7846-1AD7-5C01-83DF-2CE6E1F013C7}"/>
                  </a:ext>
                </a:extLst>
              </p:cNvPr>
              <p:cNvGrpSpPr/>
              <p:nvPr/>
            </p:nvGrpSpPr>
            <p:grpSpPr>
              <a:xfrm>
                <a:off x="9748349" y="2883269"/>
                <a:ext cx="1361199" cy="1177859"/>
                <a:chOff x="1016708" y="3239593"/>
                <a:chExt cx="1284514" cy="1177859"/>
              </a:xfrm>
            </p:grpSpPr>
            <p:pic>
              <p:nvPicPr>
                <p:cNvPr id="162" name="Gráfico 161">
                  <a:extLst>
                    <a:ext uri="{FF2B5EF4-FFF2-40B4-BE49-F238E27FC236}">
                      <a16:creationId xmlns:a16="http://schemas.microsoft.com/office/drawing/2014/main" id="{2E41BD76-3008-15C8-96A2-B14278423CA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62559" y="3335016"/>
                  <a:ext cx="992812" cy="992812"/>
                </a:xfrm>
                <a:prstGeom prst="rect">
                  <a:avLst/>
                </a:prstGeom>
              </p:spPr>
            </p:pic>
            <p:sp>
              <p:nvSpPr>
                <p:cNvPr id="163" name="object 15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19597734-0CC3-9DFB-1419-A804D4D8EDC1}"/>
                    </a:ext>
                  </a:extLst>
                </p:cNvPr>
                <p:cNvSpPr/>
                <p:nvPr/>
              </p:nvSpPr>
              <p:spPr>
                <a:xfrm>
                  <a:off x="1016708" y="3239593"/>
                  <a:ext cx="1284514" cy="11778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5070" h="1196339">
                      <a:moveTo>
                        <a:pt x="597408" y="0"/>
                      </a:moveTo>
                      <a:lnTo>
                        <a:pt x="548412" y="1982"/>
                      </a:lnTo>
                      <a:lnTo>
                        <a:pt x="500506" y="7828"/>
                      </a:lnTo>
                      <a:lnTo>
                        <a:pt x="453845" y="17384"/>
                      </a:lnTo>
                      <a:lnTo>
                        <a:pt x="408583" y="30494"/>
                      </a:lnTo>
                      <a:lnTo>
                        <a:pt x="364872" y="47006"/>
                      </a:lnTo>
                      <a:lnTo>
                        <a:pt x="322867" y="66765"/>
                      </a:lnTo>
                      <a:lnTo>
                        <a:pt x="282721" y="89618"/>
                      </a:lnTo>
                      <a:lnTo>
                        <a:pt x="244589" y="115410"/>
                      </a:lnTo>
                      <a:lnTo>
                        <a:pt x="208623" y="143988"/>
                      </a:lnTo>
                      <a:lnTo>
                        <a:pt x="174979" y="175198"/>
                      </a:lnTo>
                      <a:lnTo>
                        <a:pt x="143808" y="208885"/>
                      </a:lnTo>
                      <a:lnTo>
                        <a:pt x="115266" y="244896"/>
                      </a:lnTo>
                      <a:lnTo>
                        <a:pt x="89506" y="283077"/>
                      </a:lnTo>
                      <a:lnTo>
                        <a:pt x="66682" y="323274"/>
                      </a:lnTo>
                      <a:lnTo>
                        <a:pt x="46948" y="365333"/>
                      </a:lnTo>
                      <a:lnTo>
                        <a:pt x="30456" y="409100"/>
                      </a:lnTo>
                      <a:lnTo>
                        <a:pt x="17362" y="454421"/>
                      </a:lnTo>
                      <a:lnTo>
                        <a:pt x="7819" y="501142"/>
                      </a:lnTo>
                      <a:lnTo>
                        <a:pt x="1980" y="549110"/>
                      </a:lnTo>
                      <a:lnTo>
                        <a:pt x="0" y="598170"/>
                      </a:lnTo>
                      <a:lnTo>
                        <a:pt x="1980" y="647229"/>
                      </a:lnTo>
                      <a:lnTo>
                        <a:pt x="7819" y="695197"/>
                      </a:lnTo>
                      <a:lnTo>
                        <a:pt x="17362" y="741918"/>
                      </a:lnTo>
                      <a:lnTo>
                        <a:pt x="30456" y="787239"/>
                      </a:lnTo>
                      <a:lnTo>
                        <a:pt x="46948" y="831006"/>
                      </a:lnTo>
                      <a:lnTo>
                        <a:pt x="66682" y="873065"/>
                      </a:lnTo>
                      <a:lnTo>
                        <a:pt x="89506" y="913262"/>
                      </a:lnTo>
                      <a:lnTo>
                        <a:pt x="115266" y="951443"/>
                      </a:lnTo>
                      <a:lnTo>
                        <a:pt x="143808" y="987454"/>
                      </a:lnTo>
                      <a:lnTo>
                        <a:pt x="174979" y="1021141"/>
                      </a:lnTo>
                      <a:lnTo>
                        <a:pt x="208623" y="1052351"/>
                      </a:lnTo>
                      <a:lnTo>
                        <a:pt x="244589" y="1080929"/>
                      </a:lnTo>
                      <a:lnTo>
                        <a:pt x="282721" y="1106721"/>
                      </a:lnTo>
                      <a:lnTo>
                        <a:pt x="322867" y="1129574"/>
                      </a:lnTo>
                      <a:lnTo>
                        <a:pt x="364872" y="1149333"/>
                      </a:lnTo>
                      <a:lnTo>
                        <a:pt x="408583" y="1165845"/>
                      </a:lnTo>
                      <a:lnTo>
                        <a:pt x="453845" y="1178955"/>
                      </a:lnTo>
                      <a:lnTo>
                        <a:pt x="500506" y="1188511"/>
                      </a:lnTo>
                      <a:lnTo>
                        <a:pt x="548412" y="1194357"/>
                      </a:lnTo>
                      <a:lnTo>
                        <a:pt x="597408" y="1196340"/>
                      </a:lnTo>
                      <a:lnTo>
                        <a:pt x="646403" y="1194357"/>
                      </a:lnTo>
                      <a:lnTo>
                        <a:pt x="694309" y="1188511"/>
                      </a:lnTo>
                      <a:lnTo>
                        <a:pt x="740970" y="1178955"/>
                      </a:lnTo>
                      <a:lnTo>
                        <a:pt x="786232" y="1165845"/>
                      </a:lnTo>
                      <a:lnTo>
                        <a:pt x="829943" y="1149333"/>
                      </a:lnTo>
                      <a:lnTo>
                        <a:pt x="871948" y="1129574"/>
                      </a:lnTo>
                      <a:lnTo>
                        <a:pt x="912094" y="1106721"/>
                      </a:lnTo>
                      <a:lnTo>
                        <a:pt x="950226" y="1080929"/>
                      </a:lnTo>
                      <a:lnTo>
                        <a:pt x="986192" y="1052351"/>
                      </a:lnTo>
                      <a:lnTo>
                        <a:pt x="1019836" y="1021141"/>
                      </a:lnTo>
                      <a:lnTo>
                        <a:pt x="1051007" y="987454"/>
                      </a:lnTo>
                      <a:lnTo>
                        <a:pt x="1079549" y="951443"/>
                      </a:lnTo>
                      <a:lnTo>
                        <a:pt x="1105309" y="913262"/>
                      </a:lnTo>
                      <a:lnTo>
                        <a:pt x="1128133" y="873065"/>
                      </a:lnTo>
                      <a:lnTo>
                        <a:pt x="1147867" y="831006"/>
                      </a:lnTo>
                      <a:lnTo>
                        <a:pt x="1164359" y="787239"/>
                      </a:lnTo>
                      <a:lnTo>
                        <a:pt x="1177453" y="741918"/>
                      </a:lnTo>
                      <a:lnTo>
                        <a:pt x="1186996" y="695197"/>
                      </a:lnTo>
                      <a:lnTo>
                        <a:pt x="1192835" y="647229"/>
                      </a:lnTo>
                      <a:lnTo>
                        <a:pt x="1194816" y="598170"/>
                      </a:lnTo>
                      <a:lnTo>
                        <a:pt x="1192835" y="549110"/>
                      </a:lnTo>
                      <a:lnTo>
                        <a:pt x="1186996" y="501142"/>
                      </a:lnTo>
                      <a:lnTo>
                        <a:pt x="1177453" y="454421"/>
                      </a:lnTo>
                      <a:lnTo>
                        <a:pt x="1164359" y="409100"/>
                      </a:lnTo>
                      <a:lnTo>
                        <a:pt x="1147867" y="365333"/>
                      </a:lnTo>
                      <a:lnTo>
                        <a:pt x="1128133" y="323274"/>
                      </a:lnTo>
                      <a:lnTo>
                        <a:pt x="1105309" y="283077"/>
                      </a:lnTo>
                      <a:lnTo>
                        <a:pt x="1079549" y="244896"/>
                      </a:lnTo>
                      <a:lnTo>
                        <a:pt x="1051007" y="208885"/>
                      </a:lnTo>
                      <a:lnTo>
                        <a:pt x="1019836" y="175198"/>
                      </a:lnTo>
                      <a:lnTo>
                        <a:pt x="986192" y="143988"/>
                      </a:lnTo>
                      <a:lnTo>
                        <a:pt x="950226" y="115410"/>
                      </a:lnTo>
                      <a:lnTo>
                        <a:pt x="912094" y="89618"/>
                      </a:lnTo>
                      <a:lnTo>
                        <a:pt x="871948" y="66765"/>
                      </a:lnTo>
                      <a:lnTo>
                        <a:pt x="829943" y="47006"/>
                      </a:lnTo>
                      <a:lnTo>
                        <a:pt x="786232" y="30494"/>
                      </a:lnTo>
                      <a:lnTo>
                        <a:pt x="740970" y="17384"/>
                      </a:lnTo>
                      <a:lnTo>
                        <a:pt x="694309" y="7828"/>
                      </a:lnTo>
                      <a:lnTo>
                        <a:pt x="646403" y="1982"/>
                      </a:lnTo>
                      <a:lnTo>
                        <a:pt x="597408" y="0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81" name="Graphic 363">
                <a:extLst>
                  <a:ext uri="{FF2B5EF4-FFF2-40B4-BE49-F238E27FC236}">
                    <a16:creationId xmlns:a16="http://schemas.microsoft.com/office/drawing/2014/main" id="{D310FF47-E8C6-07E1-66AC-211845C554C8}"/>
                  </a:ext>
                </a:extLst>
              </p:cNvPr>
              <p:cNvSpPr/>
              <p:nvPr/>
            </p:nvSpPr>
            <p:spPr>
              <a:xfrm>
                <a:off x="10102952" y="3115031"/>
                <a:ext cx="648000" cy="648000"/>
              </a:xfrm>
              <a:custGeom>
                <a:avLst/>
                <a:gdLst>
                  <a:gd name="connsiteX0" fmla="*/ 350492 w 361137"/>
                  <a:gd name="connsiteY0" fmla="*/ 172641 h 360847"/>
                  <a:gd name="connsiteX1" fmla="*/ 359138 w 361137"/>
                  <a:gd name="connsiteY1" fmla="*/ 134603 h 360847"/>
                  <a:gd name="connsiteX2" fmla="*/ 330894 w 361137"/>
                  <a:gd name="connsiteY2" fmla="*/ 110332 h 360847"/>
                  <a:gd name="connsiteX3" fmla="*/ 252181 w 361137"/>
                  <a:gd name="connsiteY3" fmla="*/ 98421 h 360847"/>
                  <a:gd name="connsiteX4" fmla="*/ 247506 w 361137"/>
                  <a:gd name="connsiteY4" fmla="*/ 94835 h 360847"/>
                  <a:gd name="connsiteX5" fmla="*/ 212281 w 361137"/>
                  <a:gd name="connsiteY5" fmla="*/ 20487 h 360847"/>
                  <a:gd name="connsiteX6" fmla="*/ 166283 w 361137"/>
                  <a:gd name="connsiteY6" fmla="*/ 3082 h 360847"/>
                  <a:gd name="connsiteX7" fmla="*/ 148875 w 361137"/>
                  <a:gd name="connsiteY7" fmla="*/ 20487 h 360847"/>
                  <a:gd name="connsiteX8" fmla="*/ 113650 w 361137"/>
                  <a:gd name="connsiteY8" fmla="*/ 94835 h 360847"/>
                  <a:gd name="connsiteX9" fmla="*/ 108974 w 361137"/>
                  <a:gd name="connsiteY9" fmla="*/ 98421 h 360847"/>
                  <a:gd name="connsiteX10" fmla="*/ 30262 w 361137"/>
                  <a:gd name="connsiteY10" fmla="*/ 110332 h 360847"/>
                  <a:gd name="connsiteX11" fmla="*/ 2017 w 361137"/>
                  <a:gd name="connsiteY11" fmla="*/ 134603 h 360847"/>
                  <a:gd name="connsiteX12" fmla="*/ 10664 w 361137"/>
                  <a:gd name="connsiteY12" fmla="*/ 172641 h 360847"/>
                  <a:gd name="connsiteX13" fmla="*/ 67601 w 361137"/>
                  <a:gd name="connsiteY13" fmla="*/ 230275 h 360847"/>
                  <a:gd name="connsiteX14" fmla="*/ 69458 w 361137"/>
                  <a:gd name="connsiteY14" fmla="*/ 236295 h 360847"/>
                  <a:gd name="connsiteX15" fmla="*/ 56009 w 361137"/>
                  <a:gd name="connsiteY15" fmla="*/ 318007 h 360847"/>
                  <a:gd name="connsiteX16" fmla="*/ 70931 w 361137"/>
                  <a:gd name="connsiteY16" fmla="*/ 354381 h 360847"/>
                  <a:gd name="connsiteX17" fmla="*/ 107309 w 361137"/>
                  <a:gd name="connsiteY17" fmla="*/ 356494 h 360847"/>
                  <a:gd name="connsiteX18" fmla="*/ 177760 w 361137"/>
                  <a:gd name="connsiteY18" fmla="*/ 318072 h 360847"/>
                  <a:gd name="connsiteX19" fmla="*/ 183396 w 361137"/>
                  <a:gd name="connsiteY19" fmla="*/ 318072 h 360847"/>
                  <a:gd name="connsiteX20" fmla="*/ 253847 w 361137"/>
                  <a:gd name="connsiteY20" fmla="*/ 356494 h 360847"/>
                  <a:gd name="connsiteX21" fmla="*/ 290225 w 361137"/>
                  <a:gd name="connsiteY21" fmla="*/ 354381 h 360847"/>
                  <a:gd name="connsiteX22" fmla="*/ 305148 w 361137"/>
                  <a:gd name="connsiteY22" fmla="*/ 318007 h 360847"/>
                  <a:gd name="connsiteX23" fmla="*/ 291698 w 361137"/>
                  <a:gd name="connsiteY23" fmla="*/ 236679 h 360847"/>
                  <a:gd name="connsiteX24" fmla="*/ 293555 w 361137"/>
                  <a:gd name="connsiteY24" fmla="*/ 230660 h 360847"/>
                  <a:gd name="connsiteX25" fmla="*/ 281515 w 361137"/>
                  <a:gd name="connsiteY25" fmla="*/ 238216 h 360847"/>
                  <a:gd name="connsiteX26" fmla="*/ 294965 w 361137"/>
                  <a:gd name="connsiteY26" fmla="*/ 319929 h 360847"/>
                  <a:gd name="connsiteX27" fmla="*/ 284269 w 361137"/>
                  <a:gd name="connsiteY27" fmla="*/ 346248 h 360847"/>
                  <a:gd name="connsiteX28" fmla="*/ 258650 w 361137"/>
                  <a:gd name="connsiteY28" fmla="*/ 347721 h 360847"/>
                  <a:gd name="connsiteX29" fmla="*/ 188199 w 361137"/>
                  <a:gd name="connsiteY29" fmla="*/ 309298 h 360847"/>
                  <a:gd name="connsiteX30" fmla="*/ 172700 w 361137"/>
                  <a:gd name="connsiteY30" fmla="*/ 309298 h 360847"/>
                  <a:gd name="connsiteX31" fmla="*/ 102250 w 361137"/>
                  <a:gd name="connsiteY31" fmla="*/ 347721 h 360847"/>
                  <a:gd name="connsiteX32" fmla="*/ 76631 w 361137"/>
                  <a:gd name="connsiteY32" fmla="*/ 346248 h 360847"/>
                  <a:gd name="connsiteX33" fmla="*/ 65936 w 361137"/>
                  <a:gd name="connsiteY33" fmla="*/ 319929 h 360847"/>
                  <a:gd name="connsiteX34" fmla="*/ 79385 w 361137"/>
                  <a:gd name="connsiteY34" fmla="*/ 238216 h 360847"/>
                  <a:gd name="connsiteX35" fmla="*/ 74710 w 361137"/>
                  <a:gd name="connsiteY35" fmla="*/ 223295 h 360847"/>
                  <a:gd name="connsiteX36" fmla="*/ 17709 w 361137"/>
                  <a:gd name="connsiteY36" fmla="*/ 165661 h 360847"/>
                  <a:gd name="connsiteX37" fmla="*/ 11304 w 361137"/>
                  <a:gd name="connsiteY37" fmla="*/ 138061 h 360847"/>
                  <a:gd name="connsiteX38" fmla="*/ 31351 w 361137"/>
                  <a:gd name="connsiteY38" fmla="*/ 120771 h 360847"/>
                  <a:gd name="connsiteX39" fmla="*/ 110511 w 361137"/>
                  <a:gd name="connsiteY39" fmla="*/ 108603 h 360847"/>
                  <a:gd name="connsiteX40" fmla="*/ 122936 w 361137"/>
                  <a:gd name="connsiteY40" fmla="*/ 99190 h 360847"/>
                  <a:gd name="connsiteX41" fmla="*/ 158162 w 361137"/>
                  <a:gd name="connsiteY41" fmla="*/ 24842 h 360847"/>
                  <a:gd name="connsiteX42" fmla="*/ 190537 w 361137"/>
                  <a:gd name="connsiteY42" fmla="*/ 12388 h 360847"/>
                  <a:gd name="connsiteX43" fmla="*/ 202994 w 361137"/>
                  <a:gd name="connsiteY43" fmla="*/ 24842 h 360847"/>
                  <a:gd name="connsiteX44" fmla="*/ 238155 w 361137"/>
                  <a:gd name="connsiteY44" fmla="*/ 99190 h 360847"/>
                  <a:gd name="connsiteX45" fmla="*/ 250644 w 361137"/>
                  <a:gd name="connsiteY45" fmla="*/ 108603 h 360847"/>
                  <a:gd name="connsiteX46" fmla="*/ 329613 w 361137"/>
                  <a:gd name="connsiteY46" fmla="*/ 120642 h 360847"/>
                  <a:gd name="connsiteX47" fmla="*/ 349660 w 361137"/>
                  <a:gd name="connsiteY47" fmla="*/ 137933 h 360847"/>
                  <a:gd name="connsiteX48" fmla="*/ 343255 w 361137"/>
                  <a:gd name="connsiteY48" fmla="*/ 165533 h 360847"/>
                  <a:gd name="connsiteX49" fmla="*/ 286254 w 361137"/>
                  <a:gd name="connsiteY49" fmla="*/ 223167 h 360847"/>
                  <a:gd name="connsiteX50" fmla="*/ 281515 w 361137"/>
                  <a:gd name="connsiteY50" fmla="*/ 238344 h 360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361137" h="360847">
                    <a:moveTo>
                      <a:pt x="350492" y="172641"/>
                    </a:moveTo>
                    <a:cubicBezTo>
                      <a:pt x="360336" y="162619"/>
                      <a:pt x="363686" y="147897"/>
                      <a:pt x="359138" y="134603"/>
                    </a:cubicBezTo>
                    <a:cubicBezTo>
                      <a:pt x="355187" y="121744"/>
                      <a:pt x="344196" y="112305"/>
                      <a:pt x="330894" y="110332"/>
                    </a:cubicBezTo>
                    <a:lnTo>
                      <a:pt x="252181" y="98421"/>
                    </a:lnTo>
                    <a:cubicBezTo>
                      <a:pt x="250132" y="98056"/>
                      <a:pt x="248390" y="96718"/>
                      <a:pt x="247506" y="94835"/>
                    </a:cubicBezTo>
                    <a:lnTo>
                      <a:pt x="212281" y="20487"/>
                    </a:lnTo>
                    <a:cubicBezTo>
                      <a:pt x="204384" y="2980"/>
                      <a:pt x="183793" y="-4812"/>
                      <a:pt x="166283" y="3082"/>
                    </a:cubicBezTo>
                    <a:cubicBezTo>
                      <a:pt x="158553" y="6568"/>
                      <a:pt x="152359" y="12758"/>
                      <a:pt x="148875" y="20487"/>
                    </a:cubicBezTo>
                    <a:lnTo>
                      <a:pt x="113650" y="94835"/>
                    </a:lnTo>
                    <a:cubicBezTo>
                      <a:pt x="112766" y="96718"/>
                      <a:pt x="111024" y="98056"/>
                      <a:pt x="108974" y="98421"/>
                    </a:cubicBezTo>
                    <a:lnTo>
                      <a:pt x="30262" y="110332"/>
                    </a:lnTo>
                    <a:cubicBezTo>
                      <a:pt x="16959" y="112305"/>
                      <a:pt x="5969" y="121744"/>
                      <a:pt x="2017" y="134603"/>
                    </a:cubicBezTo>
                    <a:cubicBezTo>
                      <a:pt x="-2562" y="147897"/>
                      <a:pt x="794" y="162632"/>
                      <a:pt x="10664" y="172641"/>
                    </a:cubicBezTo>
                    <a:lnTo>
                      <a:pt x="67601" y="230275"/>
                    </a:lnTo>
                    <a:cubicBezTo>
                      <a:pt x="69163" y="231864"/>
                      <a:pt x="69855" y="234105"/>
                      <a:pt x="69458" y="236295"/>
                    </a:cubicBezTo>
                    <a:lnTo>
                      <a:pt x="56009" y="318007"/>
                    </a:lnTo>
                    <a:cubicBezTo>
                      <a:pt x="53581" y="331993"/>
                      <a:pt x="59384" y="346127"/>
                      <a:pt x="70931" y="354381"/>
                    </a:cubicBezTo>
                    <a:cubicBezTo>
                      <a:pt x="81588" y="362162"/>
                      <a:pt x="95819" y="362988"/>
                      <a:pt x="107309" y="356494"/>
                    </a:cubicBezTo>
                    <a:lnTo>
                      <a:pt x="177760" y="318072"/>
                    </a:lnTo>
                    <a:cubicBezTo>
                      <a:pt x="179502" y="317053"/>
                      <a:pt x="181654" y="317053"/>
                      <a:pt x="183396" y="318072"/>
                    </a:cubicBezTo>
                    <a:lnTo>
                      <a:pt x="253847" y="356494"/>
                    </a:lnTo>
                    <a:cubicBezTo>
                      <a:pt x="265343" y="362956"/>
                      <a:pt x="279555" y="362130"/>
                      <a:pt x="290225" y="354381"/>
                    </a:cubicBezTo>
                    <a:cubicBezTo>
                      <a:pt x="301773" y="346127"/>
                      <a:pt x="307575" y="331993"/>
                      <a:pt x="305148" y="318007"/>
                    </a:cubicBezTo>
                    <a:lnTo>
                      <a:pt x="291698" y="236679"/>
                    </a:lnTo>
                    <a:cubicBezTo>
                      <a:pt x="291301" y="234489"/>
                      <a:pt x="291999" y="232248"/>
                      <a:pt x="293555" y="230660"/>
                    </a:cubicBezTo>
                    <a:close/>
                    <a:moveTo>
                      <a:pt x="281515" y="238216"/>
                    </a:moveTo>
                    <a:lnTo>
                      <a:pt x="294965" y="319929"/>
                    </a:lnTo>
                    <a:cubicBezTo>
                      <a:pt x="296796" y="330034"/>
                      <a:pt x="292633" y="340286"/>
                      <a:pt x="284269" y="346248"/>
                    </a:cubicBezTo>
                    <a:cubicBezTo>
                      <a:pt x="276769" y="351749"/>
                      <a:pt x="266733" y="352326"/>
                      <a:pt x="258650" y="347721"/>
                    </a:cubicBezTo>
                    <a:lnTo>
                      <a:pt x="188199" y="309298"/>
                    </a:lnTo>
                    <a:cubicBezTo>
                      <a:pt x="183371" y="306654"/>
                      <a:pt x="177530" y="306654"/>
                      <a:pt x="172700" y="309298"/>
                    </a:cubicBezTo>
                    <a:lnTo>
                      <a:pt x="102250" y="347721"/>
                    </a:lnTo>
                    <a:cubicBezTo>
                      <a:pt x="94167" y="352326"/>
                      <a:pt x="84131" y="351749"/>
                      <a:pt x="76631" y="346248"/>
                    </a:cubicBezTo>
                    <a:cubicBezTo>
                      <a:pt x="68267" y="340286"/>
                      <a:pt x="64104" y="330034"/>
                      <a:pt x="65936" y="319929"/>
                    </a:cubicBezTo>
                    <a:lnTo>
                      <a:pt x="79385" y="238216"/>
                    </a:lnTo>
                    <a:cubicBezTo>
                      <a:pt x="80263" y="232786"/>
                      <a:pt x="78527" y="227259"/>
                      <a:pt x="74710" y="223295"/>
                    </a:cubicBezTo>
                    <a:lnTo>
                      <a:pt x="17709" y="165661"/>
                    </a:lnTo>
                    <a:cubicBezTo>
                      <a:pt x="10523" y="158412"/>
                      <a:pt x="8044" y="147731"/>
                      <a:pt x="11304" y="138061"/>
                    </a:cubicBezTo>
                    <a:cubicBezTo>
                      <a:pt x="14116" y="128929"/>
                      <a:pt x="21904" y="122211"/>
                      <a:pt x="31351" y="120771"/>
                    </a:cubicBezTo>
                    <a:lnTo>
                      <a:pt x="110511" y="108603"/>
                    </a:lnTo>
                    <a:cubicBezTo>
                      <a:pt x="115962" y="107726"/>
                      <a:pt x="120618" y="104197"/>
                      <a:pt x="122936" y="99190"/>
                    </a:cubicBezTo>
                    <a:lnTo>
                      <a:pt x="158162" y="24842"/>
                    </a:lnTo>
                    <a:cubicBezTo>
                      <a:pt x="163663" y="12463"/>
                      <a:pt x="178157" y="6887"/>
                      <a:pt x="190537" y="12388"/>
                    </a:cubicBezTo>
                    <a:cubicBezTo>
                      <a:pt x="196090" y="14854"/>
                      <a:pt x="200528" y="19291"/>
                      <a:pt x="202994" y="24842"/>
                    </a:cubicBezTo>
                    <a:lnTo>
                      <a:pt x="238155" y="99190"/>
                    </a:lnTo>
                    <a:cubicBezTo>
                      <a:pt x="240506" y="104204"/>
                      <a:pt x="245181" y="107726"/>
                      <a:pt x="250644" y="108603"/>
                    </a:cubicBezTo>
                    <a:lnTo>
                      <a:pt x="329613" y="120642"/>
                    </a:lnTo>
                    <a:cubicBezTo>
                      <a:pt x="339060" y="122083"/>
                      <a:pt x="346848" y="128801"/>
                      <a:pt x="349660" y="137933"/>
                    </a:cubicBezTo>
                    <a:cubicBezTo>
                      <a:pt x="352920" y="147602"/>
                      <a:pt x="350441" y="158284"/>
                      <a:pt x="343255" y="165533"/>
                    </a:cubicBezTo>
                    <a:lnTo>
                      <a:pt x="286254" y="223167"/>
                    </a:lnTo>
                    <a:cubicBezTo>
                      <a:pt x="282334" y="227176"/>
                      <a:pt x="280567" y="232818"/>
                      <a:pt x="281515" y="238344"/>
                    </a:cubicBezTo>
                    <a:close/>
                  </a:path>
                </a:pathLst>
              </a:custGeom>
              <a:solidFill>
                <a:schemeClr val="tx2"/>
              </a:solidFill>
              <a:ln w="6404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86179"/>
                  </a:solidFill>
                  <a:effectLst/>
                  <a:uLnTx/>
                  <a:uFillTx/>
                  <a:latin typeface="Arial" panose="020B0604020202020204"/>
                </a:endParaRPr>
              </a:p>
            </p:txBody>
          </p:sp>
        </p:grpSp>
      </p:grpSp>
      <p:grpSp>
        <p:nvGrpSpPr>
          <p:cNvPr id="194" name="Grupo 193">
            <a:extLst>
              <a:ext uri="{FF2B5EF4-FFF2-40B4-BE49-F238E27FC236}">
                <a16:creationId xmlns:a16="http://schemas.microsoft.com/office/drawing/2014/main" id="{E987FFA5-A45F-B11D-C758-6FB670F86AC3}"/>
              </a:ext>
            </a:extLst>
          </p:cNvPr>
          <p:cNvGrpSpPr/>
          <p:nvPr/>
        </p:nvGrpSpPr>
        <p:grpSpPr>
          <a:xfrm>
            <a:off x="10292632" y="4962039"/>
            <a:ext cx="9403060" cy="1177859"/>
            <a:chOff x="9748349" y="4567141"/>
            <a:chExt cx="9403060" cy="1177859"/>
          </a:xfrm>
        </p:grpSpPr>
        <p:sp>
          <p:nvSpPr>
            <p:cNvPr id="172" name="object 4">
              <a:extLst>
                <a:ext uri="{FF2B5EF4-FFF2-40B4-BE49-F238E27FC236}">
                  <a16:creationId xmlns:a16="http://schemas.microsoft.com/office/drawing/2014/main" id="{78EFD1F7-9394-04C0-1309-8F6BB127CDE8}"/>
                </a:ext>
              </a:extLst>
            </p:cNvPr>
            <p:cNvSpPr txBox="1"/>
            <p:nvPr/>
          </p:nvSpPr>
          <p:spPr>
            <a:xfrm>
              <a:off x="11559722" y="4908394"/>
              <a:ext cx="7591687" cy="452034"/>
            </a:xfrm>
            <a:prstGeom prst="rect">
              <a:avLst/>
            </a:prstGeom>
          </p:spPr>
          <p:txBody>
            <a:bodyPr vert="horz" wrap="square" lIns="0" tIns="20942" rIns="0" bIns="0" rtlCol="0">
              <a:spAutoFit/>
            </a:bodyPr>
            <a:lstStyle/>
            <a:p>
              <a:pPr marL="0" marR="0" lvl="0" indent="0" algn="l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800" b="0" i="0" u="none" strike="noStrike" kern="1200" cap="none" spc="-8" normalizeH="0" baseline="0" noProof="0">
                  <a:ln>
                    <a:noFill/>
                  </a:ln>
                  <a:solidFill>
                    <a:srgbClr val="414A60"/>
                  </a:solidFill>
                  <a:effectLst/>
                  <a:uLnTx/>
                  <a:uFillTx/>
                  <a:latin typeface="Telefonica" panose="00000500000000000000" pitchFamily="2" charset="0"/>
                  <a:ea typeface="+mn-ea"/>
                  <a:cs typeface="+mn-cs"/>
                </a:rPr>
                <a:t>Excelente </a:t>
              </a:r>
              <a:r>
                <a:rPr kumimoji="0" lang="es-ES" sz="2800" b="1" i="0" u="none" strike="noStrike" kern="1200" cap="none" spc="-8" normalizeH="0" baseline="0" noProof="0">
                  <a:ln>
                    <a:noFill/>
                  </a:ln>
                  <a:solidFill>
                    <a:srgbClr val="414A60"/>
                  </a:solidFill>
                  <a:effectLst/>
                  <a:uLnTx/>
                  <a:uFillTx/>
                  <a:latin typeface="Telefonica" panose="00000500000000000000" pitchFamily="2" charset="0"/>
                  <a:ea typeface="+mn-ea"/>
                  <a:cs typeface="+mn-cs"/>
                </a:rPr>
                <a:t>atención multicanal</a:t>
              </a:r>
              <a:endParaRPr kumimoji="0" lang="es-ES" sz="2800" b="1" i="0" u="none" strike="noStrike" kern="1200" cap="none" spc="132" normalizeH="0" baseline="0" noProof="0">
                <a:ln>
                  <a:noFill/>
                </a:ln>
                <a:solidFill>
                  <a:srgbClr val="414A60"/>
                </a:solidFill>
                <a:effectLst/>
                <a:uLnTx/>
                <a:uFillTx/>
                <a:latin typeface="Telefonica" panose="00000500000000000000" pitchFamily="2" charset="0"/>
                <a:ea typeface="+mn-ea"/>
                <a:cs typeface="+mn-cs"/>
              </a:endParaRPr>
            </a:p>
          </p:txBody>
        </p:sp>
        <p:grpSp>
          <p:nvGrpSpPr>
            <p:cNvPr id="184" name="Grupo 183">
              <a:extLst>
                <a:ext uri="{FF2B5EF4-FFF2-40B4-BE49-F238E27FC236}">
                  <a16:creationId xmlns:a16="http://schemas.microsoft.com/office/drawing/2014/main" id="{312BD4CA-6ADC-5302-C427-0F330144771A}"/>
                </a:ext>
              </a:extLst>
            </p:cNvPr>
            <p:cNvGrpSpPr/>
            <p:nvPr/>
          </p:nvGrpSpPr>
          <p:grpSpPr>
            <a:xfrm>
              <a:off x="9748349" y="4567141"/>
              <a:ext cx="1361199" cy="1177859"/>
              <a:chOff x="9748349" y="4567141"/>
              <a:chExt cx="1361199" cy="1177859"/>
            </a:xfrm>
          </p:grpSpPr>
          <p:grpSp>
            <p:nvGrpSpPr>
              <p:cNvPr id="174" name="Grupo 173">
                <a:extLst>
                  <a:ext uri="{FF2B5EF4-FFF2-40B4-BE49-F238E27FC236}">
                    <a16:creationId xmlns:a16="http://schemas.microsoft.com/office/drawing/2014/main" id="{E4EF3606-A7FE-34BC-342A-6CF3EA93CE18}"/>
                  </a:ext>
                </a:extLst>
              </p:cNvPr>
              <p:cNvGrpSpPr/>
              <p:nvPr/>
            </p:nvGrpSpPr>
            <p:grpSpPr>
              <a:xfrm>
                <a:off x="9748349" y="4567141"/>
                <a:ext cx="1361199" cy="1177859"/>
                <a:chOff x="1016708" y="3239593"/>
                <a:chExt cx="1284514" cy="1177859"/>
              </a:xfrm>
            </p:grpSpPr>
            <p:pic>
              <p:nvPicPr>
                <p:cNvPr id="176" name="Gráfico 175">
                  <a:extLst>
                    <a:ext uri="{FF2B5EF4-FFF2-40B4-BE49-F238E27FC236}">
                      <a16:creationId xmlns:a16="http://schemas.microsoft.com/office/drawing/2014/main" id="{6C61FF8A-8363-B2C6-2A5B-77CEA8817BF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62559" y="3335016"/>
                  <a:ext cx="992812" cy="992812"/>
                </a:xfrm>
                <a:prstGeom prst="rect">
                  <a:avLst/>
                </a:prstGeom>
              </p:spPr>
            </p:pic>
            <p:sp>
              <p:nvSpPr>
                <p:cNvPr id="177" name="object 15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8455D060-04DA-6AE8-F862-3BB5B0AB4B87}"/>
                    </a:ext>
                  </a:extLst>
                </p:cNvPr>
                <p:cNvSpPr/>
                <p:nvPr/>
              </p:nvSpPr>
              <p:spPr>
                <a:xfrm>
                  <a:off x="1016708" y="3239593"/>
                  <a:ext cx="1284514" cy="11778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5070" h="1196339">
                      <a:moveTo>
                        <a:pt x="597408" y="0"/>
                      </a:moveTo>
                      <a:lnTo>
                        <a:pt x="548412" y="1982"/>
                      </a:lnTo>
                      <a:lnTo>
                        <a:pt x="500506" y="7828"/>
                      </a:lnTo>
                      <a:lnTo>
                        <a:pt x="453845" y="17384"/>
                      </a:lnTo>
                      <a:lnTo>
                        <a:pt x="408583" y="30494"/>
                      </a:lnTo>
                      <a:lnTo>
                        <a:pt x="364872" y="47006"/>
                      </a:lnTo>
                      <a:lnTo>
                        <a:pt x="322867" y="66765"/>
                      </a:lnTo>
                      <a:lnTo>
                        <a:pt x="282721" y="89618"/>
                      </a:lnTo>
                      <a:lnTo>
                        <a:pt x="244589" y="115410"/>
                      </a:lnTo>
                      <a:lnTo>
                        <a:pt x="208623" y="143988"/>
                      </a:lnTo>
                      <a:lnTo>
                        <a:pt x="174979" y="175198"/>
                      </a:lnTo>
                      <a:lnTo>
                        <a:pt x="143808" y="208885"/>
                      </a:lnTo>
                      <a:lnTo>
                        <a:pt x="115266" y="244896"/>
                      </a:lnTo>
                      <a:lnTo>
                        <a:pt x="89506" y="283077"/>
                      </a:lnTo>
                      <a:lnTo>
                        <a:pt x="66682" y="323274"/>
                      </a:lnTo>
                      <a:lnTo>
                        <a:pt x="46948" y="365333"/>
                      </a:lnTo>
                      <a:lnTo>
                        <a:pt x="30456" y="409100"/>
                      </a:lnTo>
                      <a:lnTo>
                        <a:pt x="17362" y="454421"/>
                      </a:lnTo>
                      <a:lnTo>
                        <a:pt x="7819" y="501142"/>
                      </a:lnTo>
                      <a:lnTo>
                        <a:pt x="1980" y="549110"/>
                      </a:lnTo>
                      <a:lnTo>
                        <a:pt x="0" y="598170"/>
                      </a:lnTo>
                      <a:lnTo>
                        <a:pt x="1980" y="647229"/>
                      </a:lnTo>
                      <a:lnTo>
                        <a:pt x="7819" y="695197"/>
                      </a:lnTo>
                      <a:lnTo>
                        <a:pt x="17362" y="741918"/>
                      </a:lnTo>
                      <a:lnTo>
                        <a:pt x="30456" y="787239"/>
                      </a:lnTo>
                      <a:lnTo>
                        <a:pt x="46948" y="831006"/>
                      </a:lnTo>
                      <a:lnTo>
                        <a:pt x="66682" y="873065"/>
                      </a:lnTo>
                      <a:lnTo>
                        <a:pt x="89506" y="913262"/>
                      </a:lnTo>
                      <a:lnTo>
                        <a:pt x="115266" y="951443"/>
                      </a:lnTo>
                      <a:lnTo>
                        <a:pt x="143808" y="987454"/>
                      </a:lnTo>
                      <a:lnTo>
                        <a:pt x="174979" y="1021141"/>
                      </a:lnTo>
                      <a:lnTo>
                        <a:pt x="208623" y="1052351"/>
                      </a:lnTo>
                      <a:lnTo>
                        <a:pt x="244589" y="1080929"/>
                      </a:lnTo>
                      <a:lnTo>
                        <a:pt x="282721" y="1106721"/>
                      </a:lnTo>
                      <a:lnTo>
                        <a:pt x="322867" y="1129574"/>
                      </a:lnTo>
                      <a:lnTo>
                        <a:pt x="364872" y="1149333"/>
                      </a:lnTo>
                      <a:lnTo>
                        <a:pt x="408583" y="1165845"/>
                      </a:lnTo>
                      <a:lnTo>
                        <a:pt x="453845" y="1178955"/>
                      </a:lnTo>
                      <a:lnTo>
                        <a:pt x="500506" y="1188511"/>
                      </a:lnTo>
                      <a:lnTo>
                        <a:pt x="548412" y="1194357"/>
                      </a:lnTo>
                      <a:lnTo>
                        <a:pt x="597408" y="1196340"/>
                      </a:lnTo>
                      <a:lnTo>
                        <a:pt x="646403" y="1194357"/>
                      </a:lnTo>
                      <a:lnTo>
                        <a:pt x="694309" y="1188511"/>
                      </a:lnTo>
                      <a:lnTo>
                        <a:pt x="740970" y="1178955"/>
                      </a:lnTo>
                      <a:lnTo>
                        <a:pt x="786232" y="1165845"/>
                      </a:lnTo>
                      <a:lnTo>
                        <a:pt x="829943" y="1149333"/>
                      </a:lnTo>
                      <a:lnTo>
                        <a:pt x="871948" y="1129574"/>
                      </a:lnTo>
                      <a:lnTo>
                        <a:pt x="912094" y="1106721"/>
                      </a:lnTo>
                      <a:lnTo>
                        <a:pt x="950226" y="1080929"/>
                      </a:lnTo>
                      <a:lnTo>
                        <a:pt x="986192" y="1052351"/>
                      </a:lnTo>
                      <a:lnTo>
                        <a:pt x="1019836" y="1021141"/>
                      </a:lnTo>
                      <a:lnTo>
                        <a:pt x="1051007" y="987454"/>
                      </a:lnTo>
                      <a:lnTo>
                        <a:pt x="1079549" y="951443"/>
                      </a:lnTo>
                      <a:lnTo>
                        <a:pt x="1105309" y="913262"/>
                      </a:lnTo>
                      <a:lnTo>
                        <a:pt x="1128133" y="873065"/>
                      </a:lnTo>
                      <a:lnTo>
                        <a:pt x="1147867" y="831006"/>
                      </a:lnTo>
                      <a:lnTo>
                        <a:pt x="1164359" y="787239"/>
                      </a:lnTo>
                      <a:lnTo>
                        <a:pt x="1177453" y="741918"/>
                      </a:lnTo>
                      <a:lnTo>
                        <a:pt x="1186996" y="695197"/>
                      </a:lnTo>
                      <a:lnTo>
                        <a:pt x="1192835" y="647229"/>
                      </a:lnTo>
                      <a:lnTo>
                        <a:pt x="1194816" y="598170"/>
                      </a:lnTo>
                      <a:lnTo>
                        <a:pt x="1192835" y="549110"/>
                      </a:lnTo>
                      <a:lnTo>
                        <a:pt x="1186996" y="501142"/>
                      </a:lnTo>
                      <a:lnTo>
                        <a:pt x="1177453" y="454421"/>
                      </a:lnTo>
                      <a:lnTo>
                        <a:pt x="1164359" y="409100"/>
                      </a:lnTo>
                      <a:lnTo>
                        <a:pt x="1147867" y="365333"/>
                      </a:lnTo>
                      <a:lnTo>
                        <a:pt x="1128133" y="323274"/>
                      </a:lnTo>
                      <a:lnTo>
                        <a:pt x="1105309" y="283077"/>
                      </a:lnTo>
                      <a:lnTo>
                        <a:pt x="1079549" y="244896"/>
                      </a:lnTo>
                      <a:lnTo>
                        <a:pt x="1051007" y="208885"/>
                      </a:lnTo>
                      <a:lnTo>
                        <a:pt x="1019836" y="175198"/>
                      </a:lnTo>
                      <a:lnTo>
                        <a:pt x="986192" y="143988"/>
                      </a:lnTo>
                      <a:lnTo>
                        <a:pt x="950226" y="115410"/>
                      </a:lnTo>
                      <a:lnTo>
                        <a:pt x="912094" y="89618"/>
                      </a:lnTo>
                      <a:lnTo>
                        <a:pt x="871948" y="66765"/>
                      </a:lnTo>
                      <a:lnTo>
                        <a:pt x="829943" y="47006"/>
                      </a:lnTo>
                      <a:lnTo>
                        <a:pt x="786232" y="30494"/>
                      </a:lnTo>
                      <a:lnTo>
                        <a:pt x="740970" y="17384"/>
                      </a:lnTo>
                      <a:lnTo>
                        <a:pt x="694309" y="7828"/>
                      </a:lnTo>
                      <a:lnTo>
                        <a:pt x="646403" y="1982"/>
                      </a:lnTo>
                      <a:lnTo>
                        <a:pt x="597408" y="0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83" name="Graphic 363">
                <a:extLst>
                  <a:ext uri="{FF2B5EF4-FFF2-40B4-BE49-F238E27FC236}">
                    <a16:creationId xmlns:a16="http://schemas.microsoft.com/office/drawing/2014/main" id="{4D3C9273-493F-4D84-1E54-E1FA1556AC42}"/>
                  </a:ext>
                </a:extLst>
              </p:cNvPr>
              <p:cNvSpPr/>
              <p:nvPr/>
            </p:nvSpPr>
            <p:spPr>
              <a:xfrm>
                <a:off x="10099222" y="4807690"/>
                <a:ext cx="648000" cy="648000"/>
              </a:xfrm>
              <a:custGeom>
                <a:avLst/>
                <a:gdLst>
                  <a:gd name="connsiteX0" fmla="*/ 181379 w 362821"/>
                  <a:gd name="connsiteY0" fmla="*/ 362775 h 362775"/>
                  <a:gd name="connsiteX1" fmla="*/ 362821 w 362821"/>
                  <a:gd name="connsiteY1" fmla="*/ 181420 h 362775"/>
                  <a:gd name="connsiteX2" fmla="*/ 181379 w 362821"/>
                  <a:gd name="connsiteY2" fmla="*/ 0 h 362775"/>
                  <a:gd name="connsiteX3" fmla="*/ 0 w 362821"/>
                  <a:gd name="connsiteY3" fmla="*/ 181420 h 362775"/>
                  <a:gd name="connsiteX4" fmla="*/ 181379 w 362821"/>
                  <a:gd name="connsiteY4" fmla="*/ 362775 h 362775"/>
                  <a:gd name="connsiteX5" fmla="*/ 23697 w 362821"/>
                  <a:gd name="connsiteY5" fmla="*/ 262043 h 362775"/>
                  <a:gd name="connsiteX6" fmla="*/ 86014 w 362821"/>
                  <a:gd name="connsiteY6" fmla="*/ 262043 h 362775"/>
                  <a:gd name="connsiteX7" fmla="*/ 104459 w 362821"/>
                  <a:gd name="connsiteY7" fmla="*/ 306870 h 362775"/>
                  <a:gd name="connsiteX8" fmla="*/ 142054 w 362821"/>
                  <a:gd name="connsiteY8" fmla="*/ 349455 h 362775"/>
                  <a:gd name="connsiteX9" fmla="*/ 55080 w 362821"/>
                  <a:gd name="connsiteY9" fmla="*/ 310520 h 362775"/>
                  <a:gd name="connsiteX10" fmla="*/ 23697 w 362821"/>
                  <a:gd name="connsiteY10" fmla="*/ 262043 h 362775"/>
                  <a:gd name="connsiteX11" fmla="*/ 85309 w 362821"/>
                  <a:gd name="connsiteY11" fmla="*/ 181035 h 362775"/>
                  <a:gd name="connsiteX12" fmla="*/ 91266 w 362821"/>
                  <a:gd name="connsiteY12" fmla="*/ 121544 h 362775"/>
                  <a:gd name="connsiteX13" fmla="*/ 174974 w 362821"/>
                  <a:gd name="connsiteY13" fmla="*/ 121544 h 362775"/>
                  <a:gd name="connsiteX14" fmla="*/ 174974 w 362821"/>
                  <a:gd name="connsiteY14" fmla="*/ 251733 h 362775"/>
                  <a:gd name="connsiteX15" fmla="*/ 93828 w 362821"/>
                  <a:gd name="connsiteY15" fmla="*/ 251733 h 362775"/>
                  <a:gd name="connsiteX16" fmla="*/ 85309 w 362821"/>
                  <a:gd name="connsiteY16" fmla="*/ 181035 h 362775"/>
                  <a:gd name="connsiteX17" fmla="*/ 271363 w 362821"/>
                  <a:gd name="connsiteY17" fmla="*/ 181035 h 362775"/>
                  <a:gd name="connsiteX18" fmla="*/ 262845 w 362821"/>
                  <a:gd name="connsiteY18" fmla="*/ 251477 h 362775"/>
                  <a:gd name="connsiteX19" fmla="*/ 185990 w 362821"/>
                  <a:gd name="connsiteY19" fmla="*/ 251477 h 362775"/>
                  <a:gd name="connsiteX20" fmla="*/ 185990 w 362821"/>
                  <a:gd name="connsiteY20" fmla="*/ 121544 h 362775"/>
                  <a:gd name="connsiteX21" fmla="*/ 265471 w 362821"/>
                  <a:gd name="connsiteY21" fmla="*/ 121544 h 362775"/>
                  <a:gd name="connsiteX22" fmla="*/ 271363 w 362821"/>
                  <a:gd name="connsiteY22" fmla="*/ 181035 h 362775"/>
                  <a:gd name="connsiteX23" fmla="*/ 185798 w 362821"/>
                  <a:gd name="connsiteY23" fmla="*/ 262043 h 362775"/>
                  <a:gd name="connsiteX24" fmla="*/ 260091 w 362821"/>
                  <a:gd name="connsiteY24" fmla="*/ 262043 h 362775"/>
                  <a:gd name="connsiteX25" fmla="*/ 185798 w 362821"/>
                  <a:gd name="connsiteY25" fmla="*/ 350032 h 362775"/>
                  <a:gd name="connsiteX26" fmla="*/ 185798 w 362821"/>
                  <a:gd name="connsiteY26" fmla="*/ 111234 h 362775"/>
                  <a:gd name="connsiteX27" fmla="*/ 185798 w 362821"/>
                  <a:gd name="connsiteY27" fmla="*/ 12039 h 362775"/>
                  <a:gd name="connsiteX28" fmla="*/ 263101 w 362821"/>
                  <a:gd name="connsiteY28" fmla="*/ 111234 h 362775"/>
                  <a:gd name="connsiteX29" fmla="*/ 174974 w 362821"/>
                  <a:gd name="connsiteY29" fmla="*/ 111234 h 362775"/>
                  <a:gd name="connsiteX30" fmla="*/ 93635 w 362821"/>
                  <a:gd name="connsiteY30" fmla="*/ 111234 h 362775"/>
                  <a:gd name="connsiteX31" fmla="*/ 174974 w 362821"/>
                  <a:gd name="connsiteY31" fmla="*/ 11591 h 362775"/>
                  <a:gd name="connsiteX32" fmla="*/ 174974 w 362821"/>
                  <a:gd name="connsiteY32" fmla="*/ 262043 h 362775"/>
                  <a:gd name="connsiteX33" fmla="*/ 174974 w 362821"/>
                  <a:gd name="connsiteY33" fmla="*/ 350480 h 362775"/>
                  <a:gd name="connsiteX34" fmla="*/ 96646 w 362821"/>
                  <a:gd name="connsiteY34" fmla="*/ 262043 h 362775"/>
                  <a:gd name="connsiteX35" fmla="*/ 307613 w 362821"/>
                  <a:gd name="connsiteY35" fmla="*/ 310776 h 362775"/>
                  <a:gd name="connsiteX36" fmla="*/ 213466 w 362821"/>
                  <a:gd name="connsiteY36" fmla="*/ 350544 h 362775"/>
                  <a:gd name="connsiteX37" fmla="*/ 252278 w 362821"/>
                  <a:gd name="connsiteY37" fmla="*/ 307126 h 362775"/>
                  <a:gd name="connsiteX38" fmla="*/ 270723 w 362821"/>
                  <a:gd name="connsiteY38" fmla="*/ 262300 h 362775"/>
                  <a:gd name="connsiteX39" fmla="*/ 339060 w 362821"/>
                  <a:gd name="connsiteY39" fmla="*/ 262300 h 362775"/>
                  <a:gd name="connsiteX40" fmla="*/ 307613 w 362821"/>
                  <a:gd name="connsiteY40" fmla="*/ 310776 h 362775"/>
                  <a:gd name="connsiteX41" fmla="*/ 342647 w 362821"/>
                  <a:gd name="connsiteY41" fmla="*/ 251733 h 362775"/>
                  <a:gd name="connsiteX42" fmla="*/ 273413 w 362821"/>
                  <a:gd name="connsiteY42" fmla="*/ 251733 h 362775"/>
                  <a:gd name="connsiteX43" fmla="*/ 281675 w 362821"/>
                  <a:gd name="connsiteY43" fmla="*/ 181292 h 362775"/>
                  <a:gd name="connsiteX44" fmla="*/ 275847 w 362821"/>
                  <a:gd name="connsiteY44" fmla="*/ 121800 h 362775"/>
                  <a:gd name="connsiteX45" fmla="*/ 345721 w 362821"/>
                  <a:gd name="connsiteY45" fmla="*/ 121800 h 362775"/>
                  <a:gd name="connsiteX46" fmla="*/ 352446 w 362821"/>
                  <a:gd name="connsiteY46" fmla="*/ 181676 h 362775"/>
                  <a:gd name="connsiteX47" fmla="*/ 342647 w 362821"/>
                  <a:gd name="connsiteY47" fmla="*/ 251733 h 362775"/>
                  <a:gd name="connsiteX48" fmla="*/ 342647 w 362821"/>
                  <a:gd name="connsiteY48" fmla="*/ 111234 h 362775"/>
                  <a:gd name="connsiteX49" fmla="*/ 273669 w 362821"/>
                  <a:gd name="connsiteY49" fmla="*/ 111234 h 362775"/>
                  <a:gd name="connsiteX50" fmla="*/ 252278 w 362821"/>
                  <a:gd name="connsiteY50" fmla="*/ 54945 h 362775"/>
                  <a:gd name="connsiteX51" fmla="*/ 214747 w 362821"/>
                  <a:gd name="connsiteY51" fmla="*/ 12423 h 362775"/>
                  <a:gd name="connsiteX52" fmla="*/ 307613 w 362821"/>
                  <a:gd name="connsiteY52" fmla="*/ 51999 h 362775"/>
                  <a:gd name="connsiteX53" fmla="*/ 342711 w 362821"/>
                  <a:gd name="connsiteY53" fmla="*/ 111234 h 362775"/>
                  <a:gd name="connsiteX54" fmla="*/ 55016 w 362821"/>
                  <a:gd name="connsiteY54" fmla="*/ 51999 h 362775"/>
                  <a:gd name="connsiteX55" fmla="*/ 140581 w 362821"/>
                  <a:gd name="connsiteY55" fmla="*/ 13576 h 362775"/>
                  <a:gd name="connsiteX56" fmla="*/ 104395 w 362821"/>
                  <a:gd name="connsiteY56" fmla="*/ 55201 h 362775"/>
                  <a:gd name="connsiteX57" fmla="*/ 82940 w 362821"/>
                  <a:gd name="connsiteY57" fmla="*/ 111490 h 362775"/>
                  <a:gd name="connsiteX58" fmla="*/ 20046 w 362821"/>
                  <a:gd name="connsiteY58" fmla="*/ 111490 h 362775"/>
                  <a:gd name="connsiteX59" fmla="*/ 55080 w 362821"/>
                  <a:gd name="connsiteY59" fmla="*/ 51999 h 362775"/>
                  <a:gd name="connsiteX60" fmla="*/ 17036 w 362821"/>
                  <a:gd name="connsiteY60" fmla="*/ 121544 h 362775"/>
                  <a:gd name="connsiteX61" fmla="*/ 81082 w 362821"/>
                  <a:gd name="connsiteY61" fmla="*/ 121544 h 362775"/>
                  <a:gd name="connsiteX62" fmla="*/ 75254 w 362821"/>
                  <a:gd name="connsiteY62" fmla="*/ 181035 h 362775"/>
                  <a:gd name="connsiteX63" fmla="*/ 83516 w 362821"/>
                  <a:gd name="connsiteY63" fmla="*/ 251477 h 362775"/>
                  <a:gd name="connsiteX64" fmla="*/ 20110 w 362821"/>
                  <a:gd name="connsiteY64" fmla="*/ 251477 h 362775"/>
                  <a:gd name="connsiteX65" fmla="*/ 10311 w 362821"/>
                  <a:gd name="connsiteY65" fmla="*/ 181035 h 362775"/>
                  <a:gd name="connsiteX66" fmla="*/ 17036 w 362821"/>
                  <a:gd name="connsiteY66" fmla="*/ 121544 h 362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362821" h="362775">
                    <a:moveTo>
                      <a:pt x="181379" y="362775"/>
                    </a:moveTo>
                    <a:cubicBezTo>
                      <a:pt x="300120" y="362775"/>
                      <a:pt x="362821" y="300018"/>
                      <a:pt x="362821" y="181420"/>
                    </a:cubicBezTo>
                    <a:cubicBezTo>
                      <a:pt x="362821" y="62821"/>
                      <a:pt x="300056" y="0"/>
                      <a:pt x="181379" y="0"/>
                    </a:cubicBezTo>
                    <a:cubicBezTo>
                      <a:pt x="62701" y="0"/>
                      <a:pt x="0" y="62821"/>
                      <a:pt x="0" y="181420"/>
                    </a:cubicBezTo>
                    <a:cubicBezTo>
                      <a:pt x="0" y="300018"/>
                      <a:pt x="62701" y="362775"/>
                      <a:pt x="181379" y="362775"/>
                    </a:cubicBezTo>
                    <a:close/>
                    <a:moveTo>
                      <a:pt x="23697" y="262043"/>
                    </a:moveTo>
                    <a:lnTo>
                      <a:pt x="86014" y="262043"/>
                    </a:lnTo>
                    <a:cubicBezTo>
                      <a:pt x="90436" y="277637"/>
                      <a:pt x="96625" y="292679"/>
                      <a:pt x="104459" y="306870"/>
                    </a:cubicBezTo>
                    <a:cubicBezTo>
                      <a:pt x="113360" y="323898"/>
                      <a:pt x="126261" y="338511"/>
                      <a:pt x="142054" y="349455"/>
                    </a:cubicBezTo>
                    <a:cubicBezTo>
                      <a:pt x="105676" y="344204"/>
                      <a:pt x="76535" y="331204"/>
                      <a:pt x="55080" y="310520"/>
                    </a:cubicBezTo>
                    <a:cubicBezTo>
                      <a:pt x="41203" y="296848"/>
                      <a:pt x="30490" y="280301"/>
                      <a:pt x="23697" y="262043"/>
                    </a:cubicBezTo>
                    <a:close/>
                    <a:moveTo>
                      <a:pt x="85309" y="181035"/>
                    </a:moveTo>
                    <a:cubicBezTo>
                      <a:pt x="85268" y="161055"/>
                      <a:pt x="87265" y="141121"/>
                      <a:pt x="91266" y="121544"/>
                    </a:cubicBezTo>
                    <a:lnTo>
                      <a:pt x="174974" y="121544"/>
                    </a:lnTo>
                    <a:lnTo>
                      <a:pt x="174974" y="251733"/>
                    </a:lnTo>
                    <a:lnTo>
                      <a:pt x="93828" y="251733"/>
                    </a:lnTo>
                    <a:cubicBezTo>
                      <a:pt x="88093" y="228609"/>
                      <a:pt x="85232" y="204864"/>
                      <a:pt x="85309" y="181035"/>
                    </a:cubicBezTo>
                    <a:close/>
                    <a:moveTo>
                      <a:pt x="271363" y="181035"/>
                    </a:moveTo>
                    <a:cubicBezTo>
                      <a:pt x="271420" y="204774"/>
                      <a:pt x="268559" y="228436"/>
                      <a:pt x="262845" y="251477"/>
                    </a:cubicBezTo>
                    <a:lnTo>
                      <a:pt x="185990" y="251477"/>
                    </a:lnTo>
                    <a:lnTo>
                      <a:pt x="185990" y="121544"/>
                    </a:lnTo>
                    <a:lnTo>
                      <a:pt x="265471" y="121544"/>
                    </a:lnTo>
                    <a:cubicBezTo>
                      <a:pt x="269419" y="141127"/>
                      <a:pt x="271393" y="161055"/>
                      <a:pt x="271363" y="181035"/>
                    </a:cubicBezTo>
                    <a:close/>
                    <a:moveTo>
                      <a:pt x="185798" y="262043"/>
                    </a:moveTo>
                    <a:lnTo>
                      <a:pt x="260091" y="262043"/>
                    </a:lnTo>
                    <a:cubicBezTo>
                      <a:pt x="245425" y="311032"/>
                      <a:pt x="217885" y="345293"/>
                      <a:pt x="185798" y="350032"/>
                    </a:cubicBezTo>
                    <a:close/>
                    <a:moveTo>
                      <a:pt x="185798" y="111234"/>
                    </a:moveTo>
                    <a:lnTo>
                      <a:pt x="185798" y="12039"/>
                    </a:lnTo>
                    <a:cubicBezTo>
                      <a:pt x="220255" y="17034"/>
                      <a:pt x="249460" y="56353"/>
                      <a:pt x="263101" y="111234"/>
                    </a:cubicBezTo>
                    <a:close/>
                    <a:moveTo>
                      <a:pt x="174974" y="111234"/>
                    </a:moveTo>
                    <a:lnTo>
                      <a:pt x="93635" y="111234"/>
                    </a:lnTo>
                    <a:cubicBezTo>
                      <a:pt x="107790" y="54240"/>
                      <a:pt x="138788" y="13960"/>
                      <a:pt x="174974" y="11591"/>
                    </a:cubicBezTo>
                    <a:close/>
                    <a:moveTo>
                      <a:pt x="174974" y="262043"/>
                    </a:moveTo>
                    <a:lnTo>
                      <a:pt x="174974" y="350480"/>
                    </a:lnTo>
                    <a:cubicBezTo>
                      <a:pt x="141158" y="348239"/>
                      <a:pt x="111953" y="313082"/>
                      <a:pt x="96646" y="262043"/>
                    </a:cubicBezTo>
                    <a:close/>
                    <a:moveTo>
                      <a:pt x="307613" y="310776"/>
                    </a:moveTo>
                    <a:cubicBezTo>
                      <a:pt x="284813" y="332741"/>
                      <a:pt x="253110" y="345997"/>
                      <a:pt x="213466" y="350544"/>
                    </a:cubicBezTo>
                    <a:cubicBezTo>
                      <a:pt x="229822" y="339536"/>
                      <a:pt x="243164" y="324609"/>
                      <a:pt x="252278" y="307126"/>
                    </a:cubicBezTo>
                    <a:cubicBezTo>
                      <a:pt x="260112" y="292935"/>
                      <a:pt x="266300" y="277893"/>
                      <a:pt x="270723" y="262300"/>
                    </a:cubicBezTo>
                    <a:lnTo>
                      <a:pt x="339060" y="262300"/>
                    </a:lnTo>
                    <a:cubicBezTo>
                      <a:pt x="332269" y="280576"/>
                      <a:pt x="321531" y="297123"/>
                      <a:pt x="307613" y="310776"/>
                    </a:cubicBezTo>
                    <a:close/>
                    <a:moveTo>
                      <a:pt x="342647" y="251733"/>
                    </a:moveTo>
                    <a:lnTo>
                      <a:pt x="273413" y="251733"/>
                    </a:lnTo>
                    <a:cubicBezTo>
                      <a:pt x="278947" y="228660"/>
                      <a:pt x="281720" y="205018"/>
                      <a:pt x="281675" y="181292"/>
                    </a:cubicBezTo>
                    <a:cubicBezTo>
                      <a:pt x="281689" y="161318"/>
                      <a:pt x="279737" y="141389"/>
                      <a:pt x="275847" y="121800"/>
                    </a:cubicBezTo>
                    <a:lnTo>
                      <a:pt x="345721" y="121800"/>
                    </a:lnTo>
                    <a:cubicBezTo>
                      <a:pt x="350371" y="141415"/>
                      <a:pt x="352629" y="161517"/>
                      <a:pt x="352446" y="181676"/>
                    </a:cubicBezTo>
                    <a:cubicBezTo>
                      <a:pt x="352730" y="205389"/>
                      <a:pt x="349427" y="229006"/>
                      <a:pt x="342647" y="251733"/>
                    </a:cubicBezTo>
                    <a:close/>
                    <a:moveTo>
                      <a:pt x="342647" y="111234"/>
                    </a:moveTo>
                    <a:lnTo>
                      <a:pt x="273669" y="111234"/>
                    </a:lnTo>
                    <a:cubicBezTo>
                      <a:pt x="269162" y="91574"/>
                      <a:pt x="261964" y="72632"/>
                      <a:pt x="252278" y="54945"/>
                    </a:cubicBezTo>
                    <a:cubicBezTo>
                      <a:pt x="243397" y="37943"/>
                      <a:pt x="230517" y="23348"/>
                      <a:pt x="214747" y="12423"/>
                    </a:cubicBezTo>
                    <a:cubicBezTo>
                      <a:pt x="253815" y="17098"/>
                      <a:pt x="285197" y="30290"/>
                      <a:pt x="307613" y="51999"/>
                    </a:cubicBezTo>
                    <a:cubicBezTo>
                      <a:pt x="324156" y="68444"/>
                      <a:pt x="336236" y="88827"/>
                      <a:pt x="342711" y="111234"/>
                    </a:cubicBezTo>
                    <a:close/>
                    <a:moveTo>
                      <a:pt x="55016" y="51999"/>
                    </a:moveTo>
                    <a:cubicBezTo>
                      <a:pt x="76151" y="31635"/>
                      <a:pt x="104907" y="18699"/>
                      <a:pt x="140581" y="13576"/>
                    </a:cubicBezTo>
                    <a:cubicBezTo>
                      <a:pt x="125445" y="24450"/>
                      <a:pt x="113054" y="38698"/>
                      <a:pt x="104395" y="55201"/>
                    </a:cubicBezTo>
                    <a:cubicBezTo>
                      <a:pt x="94688" y="72888"/>
                      <a:pt x="87468" y="91830"/>
                      <a:pt x="82940" y="111490"/>
                    </a:cubicBezTo>
                    <a:lnTo>
                      <a:pt x="20046" y="111490"/>
                    </a:lnTo>
                    <a:cubicBezTo>
                      <a:pt x="26458" y="88994"/>
                      <a:pt x="38518" y="68514"/>
                      <a:pt x="55080" y="51999"/>
                    </a:cubicBezTo>
                    <a:close/>
                    <a:moveTo>
                      <a:pt x="17036" y="121544"/>
                    </a:moveTo>
                    <a:lnTo>
                      <a:pt x="81082" y="121544"/>
                    </a:lnTo>
                    <a:cubicBezTo>
                      <a:pt x="77223" y="141140"/>
                      <a:pt x="75271" y="161062"/>
                      <a:pt x="75254" y="181035"/>
                    </a:cubicBezTo>
                    <a:cubicBezTo>
                      <a:pt x="75209" y="204761"/>
                      <a:pt x="77982" y="228404"/>
                      <a:pt x="83516" y="251477"/>
                    </a:cubicBezTo>
                    <a:lnTo>
                      <a:pt x="20110" y="251477"/>
                    </a:lnTo>
                    <a:cubicBezTo>
                      <a:pt x="13287" y="228628"/>
                      <a:pt x="9983" y="204877"/>
                      <a:pt x="10311" y="181035"/>
                    </a:cubicBezTo>
                    <a:cubicBezTo>
                      <a:pt x="10159" y="161004"/>
                      <a:pt x="12417" y="141031"/>
                      <a:pt x="17036" y="121544"/>
                    </a:cubicBezTo>
                    <a:close/>
                  </a:path>
                </a:pathLst>
              </a:custGeom>
              <a:solidFill>
                <a:schemeClr val="tx2"/>
              </a:solidFill>
              <a:ln w="6404" cap="flat">
                <a:solidFill>
                  <a:srgbClr val="006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86179"/>
                  </a:solidFill>
                  <a:effectLst/>
                  <a:uLnTx/>
                  <a:uFillTx/>
                  <a:latin typeface="Arial" panose="020B0604020202020204"/>
                </a:endParaRPr>
              </a:p>
            </p:txBody>
          </p:sp>
        </p:grpSp>
      </p:grpSp>
      <p:grpSp>
        <p:nvGrpSpPr>
          <p:cNvPr id="213" name="Grupo 212">
            <a:extLst>
              <a:ext uri="{FF2B5EF4-FFF2-40B4-BE49-F238E27FC236}">
                <a16:creationId xmlns:a16="http://schemas.microsoft.com/office/drawing/2014/main" id="{ABE415E9-949C-4022-0963-495A1E961D00}"/>
              </a:ext>
            </a:extLst>
          </p:cNvPr>
          <p:cNvGrpSpPr/>
          <p:nvPr/>
        </p:nvGrpSpPr>
        <p:grpSpPr>
          <a:xfrm>
            <a:off x="10292632" y="6546111"/>
            <a:ext cx="11266690" cy="1313808"/>
            <a:chOff x="9748349" y="6069914"/>
            <a:chExt cx="11266690" cy="1313808"/>
          </a:xfrm>
        </p:grpSpPr>
        <p:sp>
          <p:nvSpPr>
            <p:cNvPr id="185" name="object 4">
              <a:extLst>
                <a:ext uri="{FF2B5EF4-FFF2-40B4-BE49-F238E27FC236}">
                  <a16:creationId xmlns:a16="http://schemas.microsoft.com/office/drawing/2014/main" id="{0BB0F2A8-D448-7A8F-B6F8-AF286F2BAAC7}"/>
                </a:ext>
              </a:extLst>
            </p:cNvPr>
            <p:cNvSpPr txBox="1"/>
            <p:nvPr/>
          </p:nvSpPr>
          <p:spPr>
            <a:xfrm>
              <a:off x="11457676" y="6069914"/>
              <a:ext cx="9557363" cy="1313808"/>
            </a:xfrm>
            <a:prstGeom prst="rect">
              <a:avLst/>
            </a:prstGeom>
          </p:spPr>
          <p:txBody>
            <a:bodyPr vert="horz" wrap="square" lIns="0" tIns="20942" rIns="0" bIns="0" rtlCol="0">
              <a:spAutoFit/>
            </a:bodyPr>
            <a:lstStyle>
              <a:defPPr>
                <a:defRPr kern="0"/>
              </a:defPPr>
              <a:lvl1pPr algn="l" defTabSz="1507846" rtl="0">
                <a:defRPr sz="2800" kern="1200" spc="-8">
                  <a:solidFill>
                    <a:srgbClr val="414A60"/>
                  </a:solidFill>
                  <a:latin typeface="Telefonica" panose="00000500000000000000" pitchFamily="2" charset="0"/>
                  <a:ea typeface="+mn-ea"/>
                  <a:cs typeface="+mn-cs"/>
                </a:defRPr>
              </a:lvl1pPr>
            </a:lstStyle>
            <a:p>
              <a:pPr marL="0" marR="0" lvl="0" indent="0" algn="l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800" b="1" i="0" u="none" strike="noStrike" kern="1200" cap="none" spc="-8" normalizeH="0" baseline="0" noProof="0">
                  <a:ln>
                    <a:noFill/>
                  </a:ln>
                  <a:solidFill>
                    <a:srgbClr val="414A60"/>
                  </a:solidFill>
                  <a:effectLst/>
                  <a:uLnTx/>
                  <a:uFillTx/>
                  <a:latin typeface="Telefonica" panose="00000500000000000000" pitchFamily="2" charset="0"/>
                  <a:ea typeface="+mn-ea"/>
                  <a:cs typeface="+mn-cs"/>
                </a:rPr>
                <a:t>Soluciones digitales </a:t>
              </a:r>
              <a:r>
                <a:rPr kumimoji="0" lang="es-ES" sz="2800" b="0" i="0" u="none" strike="noStrike" kern="1200" cap="none" spc="-8" normalizeH="0" baseline="0" noProof="0">
                  <a:ln>
                    <a:noFill/>
                  </a:ln>
                  <a:solidFill>
                    <a:srgbClr val="414A60"/>
                  </a:solidFill>
                  <a:effectLst/>
                  <a:uLnTx/>
                  <a:uFillTx/>
                  <a:latin typeface="Telefonica" panose="00000500000000000000" pitchFamily="2" charset="0"/>
                  <a:ea typeface="+mn-ea"/>
                  <a:cs typeface="+mn-cs"/>
                </a:rPr>
                <a:t>más completas y avanzadas </a:t>
              </a:r>
            </a:p>
            <a:p>
              <a:pPr marL="0" marR="0" lvl="0" indent="0" algn="l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800" b="0" i="0" u="none" strike="noStrike" kern="1200" cap="none" spc="-8" normalizeH="0" baseline="0" noProof="0">
                  <a:ln>
                    <a:noFill/>
                  </a:ln>
                  <a:solidFill>
                    <a:srgbClr val="414A60"/>
                  </a:solidFill>
                  <a:effectLst/>
                  <a:uLnTx/>
                  <a:uFillTx/>
                  <a:latin typeface="Telefonica" panose="00000500000000000000" pitchFamily="2" charset="0"/>
                  <a:ea typeface="+mn-ea"/>
                  <a:cs typeface="+mn-cs"/>
                </a:rPr>
                <a:t>del mercado</a:t>
              </a:r>
            </a:p>
            <a:p>
              <a:pPr marL="0" marR="0" lvl="0" indent="0" algn="l" defTabSz="15078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800" b="0" i="0" u="none" strike="noStrike" kern="1200" cap="none" spc="-8" normalizeH="0" baseline="0" noProof="0">
                <a:ln>
                  <a:noFill/>
                </a:ln>
                <a:solidFill>
                  <a:srgbClr val="414A60"/>
                </a:solidFill>
                <a:effectLst/>
                <a:uLnTx/>
                <a:uFillTx/>
                <a:latin typeface="Telefonica" panose="00000500000000000000" pitchFamily="2" charset="0"/>
                <a:ea typeface="+mn-ea"/>
                <a:cs typeface="+mn-cs"/>
              </a:endParaRPr>
            </a:p>
          </p:txBody>
        </p:sp>
        <p:grpSp>
          <p:nvGrpSpPr>
            <p:cNvPr id="201" name="Grupo 200">
              <a:extLst>
                <a:ext uri="{FF2B5EF4-FFF2-40B4-BE49-F238E27FC236}">
                  <a16:creationId xmlns:a16="http://schemas.microsoft.com/office/drawing/2014/main" id="{70C46BAE-8EC3-9297-28CE-7F9FEFF9D914}"/>
                </a:ext>
              </a:extLst>
            </p:cNvPr>
            <p:cNvGrpSpPr/>
            <p:nvPr/>
          </p:nvGrpSpPr>
          <p:grpSpPr>
            <a:xfrm>
              <a:off x="9748349" y="6107411"/>
              <a:ext cx="1284514" cy="1177859"/>
              <a:chOff x="9748349" y="6107411"/>
              <a:chExt cx="1284514" cy="1177859"/>
            </a:xfrm>
          </p:grpSpPr>
          <p:grpSp>
            <p:nvGrpSpPr>
              <p:cNvPr id="196" name="Grupo 195">
                <a:extLst>
                  <a:ext uri="{FF2B5EF4-FFF2-40B4-BE49-F238E27FC236}">
                    <a16:creationId xmlns:a16="http://schemas.microsoft.com/office/drawing/2014/main" id="{53FA89FD-02FF-D57F-7C28-3A0F94B6CEF5}"/>
                  </a:ext>
                </a:extLst>
              </p:cNvPr>
              <p:cNvGrpSpPr/>
              <p:nvPr/>
            </p:nvGrpSpPr>
            <p:grpSpPr>
              <a:xfrm>
                <a:off x="9748349" y="6107411"/>
                <a:ext cx="1284514" cy="1177859"/>
                <a:chOff x="1016708" y="3239593"/>
                <a:chExt cx="1284514" cy="1177859"/>
              </a:xfrm>
            </p:grpSpPr>
            <p:pic>
              <p:nvPicPr>
                <p:cNvPr id="197" name="Gráfico 196">
                  <a:extLst>
                    <a:ext uri="{FF2B5EF4-FFF2-40B4-BE49-F238E27FC236}">
                      <a16:creationId xmlns:a16="http://schemas.microsoft.com/office/drawing/2014/main" id="{273B18B6-B7B2-F2E9-0201-DFCF1389705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62559" y="3335016"/>
                  <a:ext cx="992812" cy="992812"/>
                </a:xfrm>
                <a:prstGeom prst="rect">
                  <a:avLst/>
                </a:prstGeom>
              </p:spPr>
            </p:pic>
            <p:sp>
              <p:nvSpPr>
                <p:cNvPr id="198" name="object 15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B110A8D0-9938-CDBF-0910-0EE7E523FCBE}"/>
                    </a:ext>
                  </a:extLst>
                </p:cNvPr>
                <p:cNvSpPr/>
                <p:nvPr/>
              </p:nvSpPr>
              <p:spPr>
                <a:xfrm>
                  <a:off x="1016708" y="3239593"/>
                  <a:ext cx="1284514" cy="11778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5070" h="1196339">
                      <a:moveTo>
                        <a:pt x="597408" y="0"/>
                      </a:moveTo>
                      <a:lnTo>
                        <a:pt x="548412" y="1982"/>
                      </a:lnTo>
                      <a:lnTo>
                        <a:pt x="500506" y="7828"/>
                      </a:lnTo>
                      <a:lnTo>
                        <a:pt x="453845" y="17384"/>
                      </a:lnTo>
                      <a:lnTo>
                        <a:pt x="408583" y="30494"/>
                      </a:lnTo>
                      <a:lnTo>
                        <a:pt x="364872" y="47006"/>
                      </a:lnTo>
                      <a:lnTo>
                        <a:pt x="322867" y="66765"/>
                      </a:lnTo>
                      <a:lnTo>
                        <a:pt x="282721" y="89618"/>
                      </a:lnTo>
                      <a:lnTo>
                        <a:pt x="244589" y="115410"/>
                      </a:lnTo>
                      <a:lnTo>
                        <a:pt x="208623" y="143988"/>
                      </a:lnTo>
                      <a:lnTo>
                        <a:pt x="174979" y="175198"/>
                      </a:lnTo>
                      <a:lnTo>
                        <a:pt x="143808" y="208885"/>
                      </a:lnTo>
                      <a:lnTo>
                        <a:pt x="115266" y="244896"/>
                      </a:lnTo>
                      <a:lnTo>
                        <a:pt x="89506" y="283077"/>
                      </a:lnTo>
                      <a:lnTo>
                        <a:pt x="66682" y="323274"/>
                      </a:lnTo>
                      <a:lnTo>
                        <a:pt x="46948" y="365333"/>
                      </a:lnTo>
                      <a:lnTo>
                        <a:pt x="30456" y="409100"/>
                      </a:lnTo>
                      <a:lnTo>
                        <a:pt x="17362" y="454421"/>
                      </a:lnTo>
                      <a:lnTo>
                        <a:pt x="7819" y="501142"/>
                      </a:lnTo>
                      <a:lnTo>
                        <a:pt x="1980" y="549110"/>
                      </a:lnTo>
                      <a:lnTo>
                        <a:pt x="0" y="598170"/>
                      </a:lnTo>
                      <a:lnTo>
                        <a:pt x="1980" y="647229"/>
                      </a:lnTo>
                      <a:lnTo>
                        <a:pt x="7819" y="695197"/>
                      </a:lnTo>
                      <a:lnTo>
                        <a:pt x="17362" y="741918"/>
                      </a:lnTo>
                      <a:lnTo>
                        <a:pt x="30456" y="787239"/>
                      </a:lnTo>
                      <a:lnTo>
                        <a:pt x="46948" y="831006"/>
                      </a:lnTo>
                      <a:lnTo>
                        <a:pt x="66682" y="873065"/>
                      </a:lnTo>
                      <a:lnTo>
                        <a:pt x="89506" y="913262"/>
                      </a:lnTo>
                      <a:lnTo>
                        <a:pt x="115266" y="951443"/>
                      </a:lnTo>
                      <a:lnTo>
                        <a:pt x="143808" y="987454"/>
                      </a:lnTo>
                      <a:lnTo>
                        <a:pt x="174979" y="1021141"/>
                      </a:lnTo>
                      <a:lnTo>
                        <a:pt x="208623" y="1052351"/>
                      </a:lnTo>
                      <a:lnTo>
                        <a:pt x="244589" y="1080929"/>
                      </a:lnTo>
                      <a:lnTo>
                        <a:pt x="282721" y="1106721"/>
                      </a:lnTo>
                      <a:lnTo>
                        <a:pt x="322867" y="1129574"/>
                      </a:lnTo>
                      <a:lnTo>
                        <a:pt x="364872" y="1149333"/>
                      </a:lnTo>
                      <a:lnTo>
                        <a:pt x="408583" y="1165845"/>
                      </a:lnTo>
                      <a:lnTo>
                        <a:pt x="453845" y="1178955"/>
                      </a:lnTo>
                      <a:lnTo>
                        <a:pt x="500506" y="1188511"/>
                      </a:lnTo>
                      <a:lnTo>
                        <a:pt x="548412" y="1194357"/>
                      </a:lnTo>
                      <a:lnTo>
                        <a:pt x="597408" y="1196340"/>
                      </a:lnTo>
                      <a:lnTo>
                        <a:pt x="646403" y="1194357"/>
                      </a:lnTo>
                      <a:lnTo>
                        <a:pt x="694309" y="1188511"/>
                      </a:lnTo>
                      <a:lnTo>
                        <a:pt x="740970" y="1178955"/>
                      </a:lnTo>
                      <a:lnTo>
                        <a:pt x="786232" y="1165845"/>
                      </a:lnTo>
                      <a:lnTo>
                        <a:pt x="829943" y="1149333"/>
                      </a:lnTo>
                      <a:lnTo>
                        <a:pt x="871948" y="1129574"/>
                      </a:lnTo>
                      <a:lnTo>
                        <a:pt x="912094" y="1106721"/>
                      </a:lnTo>
                      <a:lnTo>
                        <a:pt x="950226" y="1080929"/>
                      </a:lnTo>
                      <a:lnTo>
                        <a:pt x="986192" y="1052351"/>
                      </a:lnTo>
                      <a:lnTo>
                        <a:pt x="1019836" y="1021141"/>
                      </a:lnTo>
                      <a:lnTo>
                        <a:pt x="1051007" y="987454"/>
                      </a:lnTo>
                      <a:lnTo>
                        <a:pt x="1079549" y="951443"/>
                      </a:lnTo>
                      <a:lnTo>
                        <a:pt x="1105309" y="913262"/>
                      </a:lnTo>
                      <a:lnTo>
                        <a:pt x="1128133" y="873065"/>
                      </a:lnTo>
                      <a:lnTo>
                        <a:pt x="1147867" y="831006"/>
                      </a:lnTo>
                      <a:lnTo>
                        <a:pt x="1164359" y="787239"/>
                      </a:lnTo>
                      <a:lnTo>
                        <a:pt x="1177453" y="741918"/>
                      </a:lnTo>
                      <a:lnTo>
                        <a:pt x="1186996" y="695197"/>
                      </a:lnTo>
                      <a:lnTo>
                        <a:pt x="1192835" y="647229"/>
                      </a:lnTo>
                      <a:lnTo>
                        <a:pt x="1194816" y="598170"/>
                      </a:lnTo>
                      <a:lnTo>
                        <a:pt x="1192835" y="549110"/>
                      </a:lnTo>
                      <a:lnTo>
                        <a:pt x="1186996" y="501142"/>
                      </a:lnTo>
                      <a:lnTo>
                        <a:pt x="1177453" y="454421"/>
                      </a:lnTo>
                      <a:lnTo>
                        <a:pt x="1164359" y="409100"/>
                      </a:lnTo>
                      <a:lnTo>
                        <a:pt x="1147867" y="365333"/>
                      </a:lnTo>
                      <a:lnTo>
                        <a:pt x="1128133" y="323274"/>
                      </a:lnTo>
                      <a:lnTo>
                        <a:pt x="1105309" y="283077"/>
                      </a:lnTo>
                      <a:lnTo>
                        <a:pt x="1079549" y="244896"/>
                      </a:lnTo>
                      <a:lnTo>
                        <a:pt x="1051007" y="208885"/>
                      </a:lnTo>
                      <a:lnTo>
                        <a:pt x="1019836" y="175198"/>
                      </a:lnTo>
                      <a:lnTo>
                        <a:pt x="986192" y="143988"/>
                      </a:lnTo>
                      <a:lnTo>
                        <a:pt x="950226" y="115410"/>
                      </a:lnTo>
                      <a:lnTo>
                        <a:pt x="912094" y="89618"/>
                      </a:lnTo>
                      <a:lnTo>
                        <a:pt x="871948" y="66765"/>
                      </a:lnTo>
                      <a:lnTo>
                        <a:pt x="829943" y="47006"/>
                      </a:lnTo>
                      <a:lnTo>
                        <a:pt x="786232" y="30494"/>
                      </a:lnTo>
                      <a:lnTo>
                        <a:pt x="740970" y="17384"/>
                      </a:lnTo>
                      <a:lnTo>
                        <a:pt x="694309" y="7828"/>
                      </a:lnTo>
                      <a:lnTo>
                        <a:pt x="646403" y="1982"/>
                      </a:lnTo>
                      <a:lnTo>
                        <a:pt x="597408" y="0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00" name="Graphic 363">
                <a:extLst>
                  <a:ext uri="{FF2B5EF4-FFF2-40B4-BE49-F238E27FC236}">
                    <a16:creationId xmlns:a16="http://schemas.microsoft.com/office/drawing/2014/main" id="{837C4137-6191-90B7-6FC2-FF9D02969240}"/>
                  </a:ext>
                </a:extLst>
              </p:cNvPr>
              <p:cNvSpPr/>
              <p:nvPr/>
            </p:nvSpPr>
            <p:spPr>
              <a:xfrm>
                <a:off x="10075022" y="6364362"/>
                <a:ext cx="648000" cy="504000"/>
              </a:xfrm>
              <a:custGeom>
                <a:avLst/>
                <a:gdLst>
                  <a:gd name="connsiteX0" fmla="*/ 72949 w 372780"/>
                  <a:gd name="connsiteY0" fmla="*/ 259162 h 259194"/>
                  <a:gd name="connsiteX1" fmla="*/ 274822 w 372780"/>
                  <a:gd name="connsiteY1" fmla="*/ 259162 h 259194"/>
                  <a:gd name="connsiteX2" fmla="*/ 372749 w 372780"/>
                  <a:gd name="connsiteY2" fmla="*/ 166185 h 259194"/>
                  <a:gd name="connsiteX3" fmla="*/ 279754 w 372780"/>
                  <a:gd name="connsiteY3" fmla="*/ 68265 h 259194"/>
                  <a:gd name="connsiteX4" fmla="*/ 274822 w 372780"/>
                  <a:gd name="connsiteY4" fmla="*/ 68265 h 259194"/>
                  <a:gd name="connsiteX5" fmla="*/ 270787 w 372780"/>
                  <a:gd name="connsiteY5" fmla="*/ 68265 h 259194"/>
                  <a:gd name="connsiteX6" fmla="*/ 270211 w 372780"/>
                  <a:gd name="connsiteY6" fmla="*/ 68265 h 259194"/>
                  <a:gd name="connsiteX7" fmla="*/ 270211 w 372780"/>
                  <a:gd name="connsiteY7" fmla="*/ 68265 h 259194"/>
                  <a:gd name="connsiteX8" fmla="*/ 165303 w 372780"/>
                  <a:gd name="connsiteY8" fmla="*/ 0 h 259194"/>
                  <a:gd name="connsiteX9" fmla="*/ 57065 w 372780"/>
                  <a:gd name="connsiteY9" fmla="*/ 114372 h 259194"/>
                  <a:gd name="connsiteX10" fmla="*/ 54504 w 372780"/>
                  <a:gd name="connsiteY10" fmla="*/ 115332 h 259194"/>
                  <a:gd name="connsiteX11" fmla="*/ 1 w 372780"/>
                  <a:gd name="connsiteY11" fmla="*/ 185774 h 259194"/>
                  <a:gd name="connsiteX12" fmla="*/ 72757 w 372780"/>
                  <a:gd name="connsiteY12" fmla="*/ 259162 h 259194"/>
                  <a:gd name="connsiteX13" fmla="*/ 72949 w 372780"/>
                  <a:gd name="connsiteY13" fmla="*/ 259162 h 259194"/>
                  <a:gd name="connsiteX14" fmla="*/ 57386 w 372780"/>
                  <a:gd name="connsiteY14" fmla="*/ 125707 h 259194"/>
                  <a:gd name="connsiteX15" fmla="*/ 67633 w 372780"/>
                  <a:gd name="connsiteY15" fmla="*/ 115332 h 259194"/>
                  <a:gd name="connsiteX16" fmla="*/ 165303 w 372780"/>
                  <a:gd name="connsiteY16" fmla="*/ 10822 h 259194"/>
                  <a:gd name="connsiteX17" fmla="*/ 260540 w 372780"/>
                  <a:gd name="connsiteY17" fmla="*/ 72555 h 259194"/>
                  <a:gd name="connsiteX18" fmla="*/ 260540 w 372780"/>
                  <a:gd name="connsiteY18" fmla="*/ 72555 h 259194"/>
                  <a:gd name="connsiteX19" fmla="*/ 268674 w 372780"/>
                  <a:gd name="connsiteY19" fmla="*/ 78959 h 259194"/>
                  <a:gd name="connsiteX20" fmla="*/ 268674 w 372780"/>
                  <a:gd name="connsiteY20" fmla="*/ 78959 h 259194"/>
                  <a:gd name="connsiteX21" fmla="*/ 270915 w 372780"/>
                  <a:gd name="connsiteY21" fmla="*/ 78959 h 259194"/>
                  <a:gd name="connsiteX22" fmla="*/ 274438 w 372780"/>
                  <a:gd name="connsiteY22" fmla="*/ 78959 h 259194"/>
                  <a:gd name="connsiteX23" fmla="*/ 359363 w 372780"/>
                  <a:gd name="connsiteY23" fmla="*/ 163873 h 259194"/>
                  <a:gd name="connsiteX24" fmla="*/ 274438 w 372780"/>
                  <a:gd name="connsiteY24" fmla="*/ 248788 h 259194"/>
                  <a:gd name="connsiteX25" fmla="*/ 72565 w 372780"/>
                  <a:gd name="connsiteY25" fmla="*/ 248788 h 259194"/>
                  <a:gd name="connsiteX26" fmla="*/ 10120 w 372780"/>
                  <a:gd name="connsiteY26" fmla="*/ 186351 h 259194"/>
                  <a:gd name="connsiteX27" fmla="*/ 57386 w 372780"/>
                  <a:gd name="connsiteY27" fmla="*/ 125707 h 259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72780" h="259194">
                    <a:moveTo>
                      <a:pt x="72949" y="259162"/>
                    </a:moveTo>
                    <a:lnTo>
                      <a:pt x="274822" y="259162"/>
                    </a:lnTo>
                    <a:cubicBezTo>
                      <a:pt x="327532" y="260526"/>
                      <a:pt x="371404" y="218901"/>
                      <a:pt x="372749" y="166185"/>
                    </a:cubicBezTo>
                    <a:cubicBezTo>
                      <a:pt x="374094" y="113469"/>
                      <a:pt x="332464" y="69629"/>
                      <a:pt x="279754" y="68265"/>
                    </a:cubicBezTo>
                    <a:cubicBezTo>
                      <a:pt x="278088" y="68220"/>
                      <a:pt x="276487" y="68220"/>
                      <a:pt x="274822" y="68265"/>
                    </a:cubicBezTo>
                    <a:lnTo>
                      <a:pt x="270787" y="68265"/>
                    </a:lnTo>
                    <a:lnTo>
                      <a:pt x="270211" y="68265"/>
                    </a:lnTo>
                    <a:lnTo>
                      <a:pt x="270211" y="68265"/>
                    </a:lnTo>
                    <a:cubicBezTo>
                      <a:pt x="251702" y="26858"/>
                      <a:pt x="210648" y="140"/>
                      <a:pt x="165303" y="0"/>
                    </a:cubicBezTo>
                    <a:cubicBezTo>
                      <a:pt x="102858" y="0"/>
                      <a:pt x="57450" y="48028"/>
                      <a:pt x="57065" y="114372"/>
                    </a:cubicBezTo>
                    <a:cubicBezTo>
                      <a:pt x="56233" y="114814"/>
                      <a:pt x="55400" y="115134"/>
                      <a:pt x="54504" y="115332"/>
                    </a:cubicBezTo>
                    <a:cubicBezTo>
                      <a:pt x="22865" y="124349"/>
                      <a:pt x="769" y="152897"/>
                      <a:pt x="1" y="185774"/>
                    </a:cubicBezTo>
                    <a:cubicBezTo>
                      <a:pt x="-191" y="226131"/>
                      <a:pt x="32408" y="258982"/>
                      <a:pt x="72757" y="259162"/>
                    </a:cubicBezTo>
                    <a:cubicBezTo>
                      <a:pt x="72821" y="259162"/>
                      <a:pt x="72885" y="259162"/>
                      <a:pt x="72949" y="259162"/>
                    </a:cubicBezTo>
                    <a:close/>
                    <a:moveTo>
                      <a:pt x="57386" y="125707"/>
                    </a:moveTo>
                    <a:cubicBezTo>
                      <a:pt x="59948" y="125002"/>
                      <a:pt x="67633" y="122825"/>
                      <a:pt x="67633" y="115332"/>
                    </a:cubicBezTo>
                    <a:cubicBezTo>
                      <a:pt x="67633" y="54752"/>
                      <a:pt x="108751" y="10822"/>
                      <a:pt x="165303" y="10822"/>
                    </a:cubicBezTo>
                    <a:cubicBezTo>
                      <a:pt x="206421" y="10857"/>
                      <a:pt x="243696" y="35022"/>
                      <a:pt x="260540" y="72555"/>
                    </a:cubicBezTo>
                    <a:lnTo>
                      <a:pt x="260540" y="72555"/>
                    </a:lnTo>
                    <a:cubicBezTo>
                      <a:pt x="261501" y="76282"/>
                      <a:pt x="264831" y="78908"/>
                      <a:pt x="268674" y="78959"/>
                    </a:cubicBezTo>
                    <a:lnTo>
                      <a:pt x="268674" y="78959"/>
                    </a:lnTo>
                    <a:lnTo>
                      <a:pt x="270915" y="78959"/>
                    </a:lnTo>
                    <a:lnTo>
                      <a:pt x="274438" y="78959"/>
                    </a:lnTo>
                    <a:cubicBezTo>
                      <a:pt x="321320" y="78959"/>
                      <a:pt x="359363" y="116978"/>
                      <a:pt x="359363" y="163873"/>
                    </a:cubicBezTo>
                    <a:cubicBezTo>
                      <a:pt x="359363" y="210768"/>
                      <a:pt x="321320" y="248788"/>
                      <a:pt x="274438" y="248788"/>
                    </a:cubicBezTo>
                    <a:lnTo>
                      <a:pt x="72565" y="248788"/>
                    </a:lnTo>
                    <a:cubicBezTo>
                      <a:pt x="38108" y="248749"/>
                      <a:pt x="10184" y="220816"/>
                      <a:pt x="10120" y="186351"/>
                    </a:cubicBezTo>
                    <a:cubicBezTo>
                      <a:pt x="10824" y="157950"/>
                      <a:pt x="30038" y="133346"/>
                      <a:pt x="57386" y="125707"/>
                    </a:cubicBezTo>
                    <a:close/>
                  </a:path>
                </a:pathLst>
              </a:custGeom>
              <a:solidFill>
                <a:schemeClr val="tx2"/>
              </a:solidFill>
              <a:ln w="6404" cap="flat">
                <a:solidFill>
                  <a:srgbClr val="0066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586179"/>
                  </a:solidFill>
                  <a:effectLst/>
                  <a:uLnTx/>
                  <a:uFillTx/>
                  <a:latin typeface="Arial" panose="020B0604020202020204"/>
                </a:endParaRPr>
              </a:p>
            </p:txBody>
          </p:sp>
        </p:grpSp>
      </p:grpSp>
      <p:grpSp>
        <p:nvGrpSpPr>
          <p:cNvPr id="212" name="Grupo 211">
            <a:extLst>
              <a:ext uri="{FF2B5EF4-FFF2-40B4-BE49-F238E27FC236}">
                <a16:creationId xmlns:a16="http://schemas.microsoft.com/office/drawing/2014/main" id="{C0F8F2D9-D67C-1D2D-6E4C-93EC14C4B265}"/>
              </a:ext>
            </a:extLst>
          </p:cNvPr>
          <p:cNvGrpSpPr/>
          <p:nvPr/>
        </p:nvGrpSpPr>
        <p:grpSpPr>
          <a:xfrm>
            <a:off x="10292632" y="8248720"/>
            <a:ext cx="9403060" cy="1177859"/>
            <a:chOff x="9894200" y="7769437"/>
            <a:chExt cx="9403060" cy="1177859"/>
          </a:xfrm>
        </p:grpSpPr>
        <p:grpSp>
          <p:nvGrpSpPr>
            <p:cNvPr id="203" name="Grupo 202">
              <a:extLst>
                <a:ext uri="{FF2B5EF4-FFF2-40B4-BE49-F238E27FC236}">
                  <a16:creationId xmlns:a16="http://schemas.microsoft.com/office/drawing/2014/main" id="{19B97B31-ADED-545F-7743-5C90F53D4B08}"/>
                </a:ext>
              </a:extLst>
            </p:cNvPr>
            <p:cNvGrpSpPr/>
            <p:nvPr/>
          </p:nvGrpSpPr>
          <p:grpSpPr>
            <a:xfrm>
              <a:off x="9894200" y="7769437"/>
              <a:ext cx="9403060" cy="1177859"/>
              <a:chOff x="9748349" y="4567141"/>
              <a:chExt cx="9403060" cy="1177859"/>
            </a:xfrm>
          </p:grpSpPr>
          <p:sp>
            <p:nvSpPr>
              <p:cNvPr id="204" name="object 4">
                <a:extLst>
                  <a:ext uri="{FF2B5EF4-FFF2-40B4-BE49-F238E27FC236}">
                    <a16:creationId xmlns:a16="http://schemas.microsoft.com/office/drawing/2014/main" id="{714C0A99-0146-5291-AA0E-794D3483CE3B}"/>
                  </a:ext>
                </a:extLst>
              </p:cNvPr>
              <p:cNvSpPr txBox="1"/>
              <p:nvPr/>
            </p:nvSpPr>
            <p:spPr>
              <a:xfrm>
                <a:off x="11559722" y="4755997"/>
                <a:ext cx="7591687" cy="882921"/>
              </a:xfrm>
              <a:prstGeom prst="rect">
                <a:avLst/>
              </a:prstGeom>
            </p:spPr>
            <p:txBody>
              <a:bodyPr vert="horz" wrap="square" lIns="0" tIns="20942" rIns="0" bIns="0" rtlCol="0">
                <a:spAutoFit/>
              </a:bodyPr>
              <a:lstStyle/>
              <a:p>
                <a:pPr marL="0" marR="0" lvl="0" indent="0" algn="l" defTabSz="15078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2800" b="1" i="0" u="none" strike="noStrike" kern="1200" cap="none" spc="-8" normalizeH="0" baseline="0" noProof="0" err="1">
                    <a:ln>
                      <a:noFill/>
                    </a:ln>
                    <a:solidFill>
                      <a:srgbClr val="414A60"/>
                    </a:solidFill>
                    <a:effectLst/>
                    <a:uLnTx/>
                    <a:uFillTx/>
                    <a:latin typeface="Telefonica" panose="00000500000000000000" pitchFamily="2" charset="0"/>
                    <a:ea typeface="+mn-ea"/>
                    <a:cs typeface="+mn-cs"/>
                  </a:rPr>
                  <a:t>Partner</a:t>
                </a:r>
                <a:r>
                  <a:rPr kumimoji="0" lang="es-ES" sz="2800" b="1" i="0" u="none" strike="noStrike" kern="1200" cap="none" spc="-8" normalizeH="0" baseline="0" noProof="0">
                    <a:ln>
                      <a:noFill/>
                    </a:ln>
                    <a:solidFill>
                      <a:srgbClr val="414A60"/>
                    </a:solidFill>
                    <a:effectLst/>
                    <a:uLnTx/>
                    <a:uFillTx/>
                    <a:latin typeface="Telefonica" panose="00000500000000000000" pitchFamily="2" charset="0"/>
                    <a:ea typeface="+mn-ea"/>
                    <a:cs typeface="+mn-cs"/>
                  </a:rPr>
                  <a:t> Integral </a:t>
                </a:r>
                <a:r>
                  <a:rPr kumimoji="0" lang="es-ES" sz="2800" b="0" i="0" u="none" strike="noStrike" kern="1200" cap="none" spc="-8" normalizeH="0" baseline="0" noProof="0">
                    <a:ln>
                      <a:noFill/>
                    </a:ln>
                    <a:solidFill>
                      <a:srgbClr val="414A60"/>
                    </a:solidFill>
                    <a:effectLst/>
                    <a:uLnTx/>
                    <a:uFillTx/>
                    <a:latin typeface="Telefonica" panose="00000500000000000000" pitchFamily="2" charset="0"/>
                    <a:ea typeface="+mn-ea"/>
                    <a:cs typeface="+mn-cs"/>
                  </a:rPr>
                  <a:t>en la transformación digital para maximizar el valor de tu Bono </a:t>
                </a:r>
              </a:p>
            </p:txBody>
          </p:sp>
          <p:grpSp>
            <p:nvGrpSpPr>
              <p:cNvPr id="206" name="Grupo 205">
                <a:extLst>
                  <a:ext uri="{FF2B5EF4-FFF2-40B4-BE49-F238E27FC236}">
                    <a16:creationId xmlns:a16="http://schemas.microsoft.com/office/drawing/2014/main" id="{88FA8DC6-73A0-5335-293C-1618677B1072}"/>
                  </a:ext>
                </a:extLst>
              </p:cNvPr>
              <p:cNvGrpSpPr/>
              <p:nvPr/>
            </p:nvGrpSpPr>
            <p:grpSpPr>
              <a:xfrm>
                <a:off x="9748349" y="4567141"/>
                <a:ext cx="1361199" cy="1177859"/>
                <a:chOff x="1016708" y="3239593"/>
                <a:chExt cx="1284514" cy="1177859"/>
              </a:xfrm>
            </p:grpSpPr>
            <p:pic>
              <p:nvPicPr>
                <p:cNvPr id="208" name="Gráfico 207">
                  <a:extLst>
                    <a:ext uri="{FF2B5EF4-FFF2-40B4-BE49-F238E27FC236}">
                      <a16:creationId xmlns:a16="http://schemas.microsoft.com/office/drawing/2014/main" id="{2C58378D-430A-70CA-F568-50C9F0D0A2F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62559" y="3335016"/>
                  <a:ext cx="992812" cy="992812"/>
                </a:xfrm>
                <a:prstGeom prst="rect">
                  <a:avLst/>
                </a:prstGeom>
              </p:spPr>
            </p:pic>
            <p:sp>
              <p:nvSpPr>
                <p:cNvPr id="209" name="object 15">
                  <a:hlinkClick r:id="" action="ppaction://noaction"/>
                  <a:extLst>
                    <a:ext uri="{FF2B5EF4-FFF2-40B4-BE49-F238E27FC236}">
                      <a16:creationId xmlns:a16="http://schemas.microsoft.com/office/drawing/2014/main" id="{0A712291-50EB-AC6C-17B4-559BE4838C23}"/>
                    </a:ext>
                  </a:extLst>
                </p:cNvPr>
                <p:cNvSpPr/>
                <p:nvPr/>
              </p:nvSpPr>
              <p:spPr>
                <a:xfrm>
                  <a:off x="1016708" y="3239593"/>
                  <a:ext cx="1284514" cy="11778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95070" h="1196339">
                      <a:moveTo>
                        <a:pt x="597408" y="0"/>
                      </a:moveTo>
                      <a:lnTo>
                        <a:pt x="548412" y="1982"/>
                      </a:lnTo>
                      <a:lnTo>
                        <a:pt x="500506" y="7828"/>
                      </a:lnTo>
                      <a:lnTo>
                        <a:pt x="453845" y="17384"/>
                      </a:lnTo>
                      <a:lnTo>
                        <a:pt x="408583" y="30494"/>
                      </a:lnTo>
                      <a:lnTo>
                        <a:pt x="364872" y="47006"/>
                      </a:lnTo>
                      <a:lnTo>
                        <a:pt x="322867" y="66765"/>
                      </a:lnTo>
                      <a:lnTo>
                        <a:pt x="282721" y="89618"/>
                      </a:lnTo>
                      <a:lnTo>
                        <a:pt x="244589" y="115410"/>
                      </a:lnTo>
                      <a:lnTo>
                        <a:pt x="208623" y="143988"/>
                      </a:lnTo>
                      <a:lnTo>
                        <a:pt x="174979" y="175198"/>
                      </a:lnTo>
                      <a:lnTo>
                        <a:pt x="143808" y="208885"/>
                      </a:lnTo>
                      <a:lnTo>
                        <a:pt x="115266" y="244896"/>
                      </a:lnTo>
                      <a:lnTo>
                        <a:pt x="89506" y="283077"/>
                      </a:lnTo>
                      <a:lnTo>
                        <a:pt x="66682" y="323274"/>
                      </a:lnTo>
                      <a:lnTo>
                        <a:pt x="46948" y="365333"/>
                      </a:lnTo>
                      <a:lnTo>
                        <a:pt x="30456" y="409100"/>
                      </a:lnTo>
                      <a:lnTo>
                        <a:pt x="17362" y="454421"/>
                      </a:lnTo>
                      <a:lnTo>
                        <a:pt x="7819" y="501142"/>
                      </a:lnTo>
                      <a:lnTo>
                        <a:pt x="1980" y="549110"/>
                      </a:lnTo>
                      <a:lnTo>
                        <a:pt x="0" y="598170"/>
                      </a:lnTo>
                      <a:lnTo>
                        <a:pt x="1980" y="647229"/>
                      </a:lnTo>
                      <a:lnTo>
                        <a:pt x="7819" y="695197"/>
                      </a:lnTo>
                      <a:lnTo>
                        <a:pt x="17362" y="741918"/>
                      </a:lnTo>
                      <a:lnTo>
                        <a:pt x="30456" y="787239"/>
                      </a:lnTo>
                      <a:lnTo>
                        <a:pt x="46948" y="831006"/>
                      </a:lnTo>
                      <a:lnTo>
                        <a:pt x="66682" y="873065"/>
                      </a:lnTo>
                      <a:lnTo>
                        <a:pt x="89506" y="913262"/>
                      </a:lnTo>
                      <a:lnTo>
                        <a:pt x="115266" y="951443"/>
                      </a:lnTo>
                      <a:lnTo>
                        <a:pt x="143808" y="987454"/>
                      </a:lnTo>
                      <a:lnTo>
                        <a:pt x="174979" y="1021141"/>
                      </a:lnTo>
                      <a:lnTo>
                        <a:pt x="208623" y="1052351"/>
                      </a:lnTo>
                      <a:lnTo>
                        <a:pt x="244589" y="1080929"/>
                      </a:lnTo>
                      <a:lnTo>
                        <a:pt x="282721" y="1106721"/>
                      </a:lnTo>
                      <a:lnTo>
                        <a:pt x="322867" y="1129574"/>
                      </a:lnTo>
                      <a:lnTo>
                        <a:pt x="364872" y="1149333"/>
                      </a:lnTo>
                      <a:lnTo>
                        <a:pt x="408583" y="1165845"/>
                      </a:lnTo>
                      <a:lnTo>
                        <a:pt x="453845" y="1178955"/>
                      </a:lnTo>
                      <a:lnTo>
                        <a:pt x="500506" y="1188511"/>
                      </a:lnTo>
                      <a:lnTo>
                        <a:pt x="548412" y="1194357"/>
                      </a:lnTo>
                      <a:lnTo>
                        <a:pt x="597408" y="1196340"/>
                      </a:lnTo>
                      <a:lnTo>
                        <a:pt x="646403" y="1194357"/>
                      </a:lnTo>
                      <a:lnTo>
                        <a:pt x="694309" y="1188511"/>
                      </a:lnTo>
                      <a:lnTo>
                        <a:pt x="740970" y="1178955"/>
                      </a:lnTo>
                      <a:lnTo>
                        <a:pt x="786232" y="1165845"/>
                      </a:lnTo>
                      <a:lnTo>
                        <a:pt x="829943" y="1149333"/>
                      </a:lnTo>
                      <a:lnTo>
                        <a:pt x="871948" y="1129574"/>
                      </a:lnTo>
                      <a:lnTo>
                        <a:pt x="912094" y="1106721"/>
                      </a:lnTo>
                      <a:lnTo>
                        <a:pt x="950226" y="1080929"/>
                      </a:lnTo>
                      <a:lnTo>
                        <a:pt x="986192" y="1052351"/>
                      </a:lnTo>
                      <a:lnTo>
                        <a:pt x="1019836" y="1021141"/>
                      </a:lnTo>
                      <a:lnTo>
                        <a:pt x="1051007" y="987454"/>
                      </a:lnTo>
                      <a:lnTo>
                        <a:pt x="1079549" y="951443"/>
                      </a:lnTo>
                      <a:lnTo>
                        <a:pt x="1105309" y="913262"/>
                      </a:lnTo>
                      <a:lnTo>
                        <a:pt x="1128133" y="873065"/>
                      </a:lnTo>
                      <a:lnTo>
                        <a:pt x="1147867" y="831006"/>
                      </a:lnTo>
                      <a:lnTo>
                        <a:pt x="1164359" y="787239"/>
                      </a:lnTo>
                      <a:lnTo>
                        <a:pt x="1177453" y="741918"/>
                      </a:lnTo>
                      <a:lnTo>
                        <a:pt x="1186996" y="695197"/>
                      </a:lnTo>
                      <a:lnTo>
                        <a:pt x="1192835" y="647229"/>
                      </a:lnTo>
                      <a:lnTo>
                        <a:pt x="1194816" y="598170"/>
                      </a:lnTo>
                      <a:lnTo>
                        <a:pt x="1192835" y="549110"/>
                      </a:lnTo>
                      <a:lnTo>
                        <a:pt x="1186996" y="501142"/>
                      </a:lnTo>
                      <a:lnTo>
                        <a:pt x="1177453" y="454421"/>
                      </a:lnTo>
                      <a:lnTo>
                        <a:pt x="1164359" y="409100"/>
                      </a:lnTo>
                      <a:lnTo>
                        <a:pt x="1147867" y="365333"/>
                      </a:lnTo>
                      <a:lnTo>
                        <a:pt x="1128133" y="323274"/>
                      </a:lnTo>
                      <a:lnTo>
                        <a:pt x="1105309" y="283077"/>
                      </a:lnTo>
                      <a:lnTo>
                        <a:pt x="1079549" y="244896"/>
                      </a:lnTo>
                      <a:lnTo>
                        <a:pt x="1051007" y="208885"/>
                      </a:lnTo>
                      <a:lnTo>
                        <a:pt x="1019836" y="175198"/>
                      </a:lnTo>
                      <a:lnTo>
                        <a:pt x="986192" y="143988"/>
                      </a:lnTo>
                      <a:lnTo>
                        <a:pt x="950226" y="115410"/>
                      </a:lnTo>
                      <a:lnTo>
                        <a:pt x="912094" y="89618"/>
                      </a:lnTo>
                      <a:lnTo>
                        <a:pt x="871948" y="66765"/>
                      </a:lnTo>
                      <a:lnTo>
                        <a:pt x="829943" y="47006"/>
                      </a:lnTo>
                      <a:lnTo>
                        <a:pt x="786232" y="30494"/>
                      </a:lnTo>
                      <a:lnTo>
                        <a:pt x="740970" y="17384"/>
                      </a:lnTo>
                      <a:lnTo>
                        <a:pt x="694309" y="7828"/>
                      </a:lnTo>
                      <a:lnTo>
                        <a:pt x="646403" y="1982"/>
                      </a:lnTo>
                      <a:lnTo>
                        <a:pt x="597408" y="0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pic>
          <p:nvPicPr>
            <p:cNvPr id="211" name="Gráfico 210" descr="Flecha circular contorno">
              <a:extLst>
                <a:ext uri="{FF2B5EF4-FFF2-40B4-BE49-F238E27FC236}">
                  <a16:creationId xmlns:a16="http://schemas.microsoft.com/office/drawing/2014/main" id="{EC6AF090-66A4-E8FF-E9D0-79C8ABC6E46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0118564" y="7913590"/>
              <a:ext cx="900000" cy="90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85521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088CBEE-6148-4B18-82AC-4C04C17835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/>
              <a:t>OFERTA</a:t>
            </a:r>
            <a:endParaRPr lang="es-ES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C35D4FA6-12C3-5582-99B1-B4AA434F8D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78223" y="242392"/>
            <a:ext cx="2907846" cy="1006206"/>
          </a:xfrm>
          <a:prstGeom prst="rect">
            <a:avLst/>
          </a:prstGeom>
        </p:spPr>
      </p:pic>
      <p:grpSp>
        <p:nvGrpSpPr>
          <p:cNvPr id="10" name="Grupo 9">
            <a:extLst>
              <a:ext uri="{FF2B5EF4-FFF2-40B4-BE49-F238E27FC236}">
                <a16:creationId xmlns:a16="http://schemas.microsoft.com/office/drawing/2014/main" id="{D681D751-AECC-E6FB-84B5-4E51F2400000}"/>
              </a:ext>
            </a:extLst>
          </p:cNvPr>
          <p:cNvGrpSpPr/>
          <p:nvPr/>
        </p:nvGrpSpPr>
        <p:grpSpPr>
          <a:xfrm>
            <a:off x="1908314" y="1510406"/>
            <a:ext cx="15363562" cy="9724848"/>
            <a:chOff x="1908314" y="1510406"/>
            <a:chExt cx="15363562" cy="9724848"/>
          </a:xfrm>
        </p:grpSpPr>
        <p:pic>
          <p:nvPicPr>
            <p:cNvPr id="3" name="Imagen 2" descr="Interfaz de usuario gráfica&#10;&#10;Descripción generada automáticamente">
              <a:extLst>
                <a:ext uri="{FF2B5EF4-FFF2-40B4-BE49-F238E27FC236}">
                  <a16:creationId xmlns:a16="http://schemas.microsoft.com/office/drawing/2014/main" id="{E727090A-CF17-0E24-EAF0-5672B4B5A5E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908315" y="2494220"/>
              <a:ext cx="15363561" cy="8741034"/>
            </a:xfrm>
            <a:prstGeom prst="rect">
              <a:avLst/>
            </a:prstGeom>
          </p:spPr>
        </p:pic>
        <p:sp>
          <p:nvSpPr>
            <p:cNvPr id="4" name="CuadroTexto 3">
              <a:extLst>
                <a:ext uri="{FF2B5EF4-FFF2-40B4-BE49-F238E27FC236}">
                  <a16:creationId xmlns:a16="http://schemas.microsoft.com/office/drawing/2014/main" id="{8F1560D4-B669-0A39-AEE8-C1C715FC9B20}"/>
                </a:ext>
              </a:extLst>
            </p:cNvPr>
            <p:cNvSpPr txBox="1"/>
            <p:nvPr/>
          </p:nvSpPr>
          <p:spPr>
            <a:xfrm>
              <a:off x="4523423" y="10350046"/>
              <a:ext cx="2612364" cy="549061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 defTabSz="1507846" rtl="0"/>
              <a:r>
                <a:rPr lang="es-ES" sz="2968" kern="1200" dirty="0">
                  <a:solidFill>
                    <a:srgbClr val="FFFFFF"/>
                  </a:solidFill>
                  <a:latin typeface="Arial" panose="020B0604020202020204"/>
                  <a:ea typeface="+mn-ea"/>
                  <a:cs typeface="+mn-cs"/>
                </a:rPr>
                <a:t>3.000 €</a:t>
              </a:r>
            </a:p>
          </p:txBody>
        </p:sp>
        <p:sp>
          <p:nvSpPr>
            <p:cNvPr id="6" name="CuadroTexto 5">
              <a:extLst>
                <a:ext uri="{FF2B5EF4-FFF2-40B4-BE49-F238E27FC236}">
                  <a16:creationId xmlns:a16="http://schemas.microsoft.com/office/drawing/2014/main" id="{0840D03F-F807-5825-8C68-7C05C18AF2EB}"/>
                </a:ext>
              </a:extLst>
            </p:cNvPr>
            <p:cNvSpPr txBox="1"/>
            <p:nvPr/>
          </p:nvSpPr>
          <p:spPr>
            <a:xfrm>
              <a:off x="12366359" y="10381583"/>
              <a:ext cx="2612364" cy="549061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 defTabSz="1507846" rtl="0"/>
              <a:r>
                <a:rPr lang="es-ES" sz="2968" kern="1200">
                  <a:solidFill>
                    <a:srgbClr val="FFFFFF"/>
                  </a:solidFill>
                  <a:latin typeface="Arial" panose="020B0604020202020204"/>
                  <a:ea typeface="+mn-ea"/>
                  <a:cs typeface="+mn-cs"/>
                </a:rPr>
                <a:t>1.250 €</a:t>
              </a:r>
            </a:p>
          </p:txBody>
        </p:sp>
        <p:pic>
          <p:nvPicPr>
            <p:cNvPr id="7" name="Imagen 6" descr="Interfaz de usuario gráfica&#10;&#10;Descripción generada automáticamente">
              <a:extLst>
                <a:ext uri="{FF2B5EF4-FFF2-40B4-BE49-F238E27FC236}">
                  <a16:creationId xmlns:a16="http://schemas.microsoft.com/office/drawing/2014/main" id="{A0E119AA-1B04-538B-04C1-5F260A9390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-2773" b="82435"/>
            <a:stretch/>
          </p:blipFill>
          <p:spPr>
            <a:xfrm>
              <a:off x="1908314" y="1510406"/>
              <a:ext cx="15363561" cy="1777774"/>
            </a:xfrm>
            <a:prstGeom prst="rect">
              <a:avLst/>
            </a:prstGeom>
          </p:spPr>
        </p:pic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1ACB0216-413E-8310-859C-EE3D14EC3A28}"/>
                </a:ext>
              </a:extLst>
            </p:cNvPr>
            <p:cNvSpPr/>
            <p:nvPr/>
          </p:nvSpPr>
          <p:spPr>
            <a:xfrm>
              <a:off x="1908314" y="3288180"/>
              <a:ext cx="15363562" cy="124129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8" name="Imagen 7" descr="Interfaz de usuario gráfica&#10;&#10;Descripción generada automáticamente con confianza baja">
              <a:extLst>
                <a:ext uri="{FF2B5EF4-FFF2-40B4-BE49-F238E27FC236}">
                  <a16:creationId xmlns:a16="http://schemas.microsoft.com/office/drawing/2014/main" id="{738D9012-9053-83EE-4FE5-2A63302274E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0428" y="3288180"/>
              <a:ext cx="14714620" cy="6824121"/>
            </a:xfrm>
            <a:prstGeom prst="rect">
              <a:avLst/>
            </a:prstGeom>
            <a:solidFill>
              <a:schemeClr val="bg1"/>
            </a:solidFill>
          </p:spPr>
        </p:pic>
      </p:grpSp>
    </p:spTree>
    <p:extLst>
      <p:ext uri="{BB962C8B-B14F-4D97-AF65-F5344CB8AC3E}">
        <p14:creationId xmlns:p14="http://schemas.microsoft.com/office/powerpoint/2010/main" val="11691813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n 26" descr="Interfaz de usuario gráfica, Texto&#10;&#10;Descripción generada automáticamente">
            <a:extLst>
              <a:ext uri="{FF2B5EF4-FFF2-40B4-BE49-F238E27FC236}">
                <a16:creationId xmlns:a16="http://schemas.microsoft.com/office/drawing/2014/main" id="{F34B764B-3D7F-4C55-B5AF-D9F4305C8EE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53" r="16907" b="36385"/>
          <a:stretch/>
        </p:blipFill>
        <p:spPr>
          <a:xfrm>
            <a:off x="16107443" y="9938306"/>
            <a:ext cx="3678627" cy="820842"/>
          </a:xfrm>
          <a:prstGeom prst="rect">
            <a:avLst/>
          </a:prstGeom>
        </p:spPr>
      </p:pic>
      <p:sp>
        <p:nvSpPr>
          <p:cNvPr id="26" name="Rectángulo 25">
            <a:extLst>
              <a:ext uri="{FF2B5EF4-FFF2-40B4-BE49-F238E27FC236}">
                <a16:creationId xmlns:a16="http://schemas.microsoft.com/office/drawing/2014/main" id="{3E55E1EF-3CE7-4626-876E-E3851934E4A9}"/>
              </a:ext>
            </a:extLst>
          </p:cNvPr>
          <p:cNvSpPr/>
          <p:nvPr/>
        </p:nvSpPr>
        <p:spPr>
          <a:xfrm>
            <a:off x="14801379" y="-1232641"/>
            <a:ext cx="4887517" cy="858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776" rtl="0">
              <a:defRPr/>
            </a:pPr>
            <a:endParaRPr lang="es-ES" sz="2968" kern="1200">
              <a:solidFill>
                <a:srgbClr val="0066FF"/>
              </a:solidFill>
              <a:latin typeface="Calibri" panose="020F0502020204030204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31642A1E-2EDD-4244-DFED-65E61539F467}"/>
              </a:ext>
            </a:extLst>
          </p:cNvPr>
          <p:cNvSpPr/>
          <p:nvPr/>
        </p:nvSpPr>
        <p:spPr>
          <a:xfrm>
            <a:off x="4919068" y="8003352"/>
            <a:ext cx="1167748" cy="767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776" rtl="0">
              <a:defRPr/>
            </a:pPr>
            <a:endParaRPr lang="es-ES" sz="2968" kern="1200">
              <a:solidFill>
                <a:prstClr val="white"/>
              </a:solidFill>
              <a:latin typeface="Telefonica Sans" panose="02000003020000060003" pitchFamily="2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9057100-4FC5-10C9-8C45-D8EB38FACB7C}"/>
              </a:ext>
            </a:extLst>
          </p:cNvPr>
          <p:cNvSpPr/>
          <p:nvPr/>
        </p:nvSpPr>
        <p:spPr>
          <a:xfrm>
            <a:off x="4161582" y="8626303"/>
            <a:ext cx="2694325" cy="7592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776" rtl="0">
              <a:defRPr/>
            </a:pPr>
            <a:endParaRPr lang="es-ES" sz="2968" kern="1200">
              <a:solidFill>
                <a:srgbClr val="6E7894"/>
              </a:solidFill>
              <a:latin typeface="Telefonica Sans" panose="02000003020000060003" pitchFamily="2" charset="0"/>
            </a:endParaRPr>
          </a:p>
        </p:txBody>
      </p:sp>
      <p:pic>
        <p:nvPicPr>
          <p:cNvPr id="7" name="Imagen 6" descr="Laptop encendida junto a una computadora&#10;&#10;Descripción generada automáticamente">
            <a:extLst>
              <a:ext uri="{FF2B5EF4-FFF2-40B4-BE49-F238E27FC236}">
                <a16:creationId xmlns:a16="http://schemas.microsoft.com/office/drawing/2014/main" id="{FBAB92D1-D875-5FC5-0AE7-D3107F0FE73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41" t="6741" r="13306" b="17147"/>
          <a:stretch/>
        </p:blipFill>
        <p:spPr>
          <a:xfrm>
            <a:off x="2509749" y="2531693"/>
            <a:ext cx="4469521" cy="3608587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5A69F109-5A1D-9EDA-B485-8DADC2F24B26}"/>
              </a:ext>
            </a:extLst>
          </p:cNvPr>
          <p:cNvSpPr txBox="1"/>
          <p:nvPr/>
        </p:nvSpPr>
        <p:spPr>
          <a:xfrm>
            <a:off x="2211781" y="1735596"/>
            <a:ext cx="4158360" cy="5998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507776" rtl="0">
              <a:defRPr/>
            </a:pPr>
            <a:r>
              <a:rPr lang="es-ES" sz="3298" b="1" kern="1200">
                <a:solidFill>
                  <a:srgbClr val="0066FF"/>
                </a:solidFill>
                <a:latin typeface="Telefonica Sans" panose="02000003020000060003" pitchFamily="50" charset="0"/>
                <a:ea typeface="+mn-ea"/>
                <a:cs typeface="+mn-cs"/>
              </a:rPr>
              <a:t>Lenovo ThinkPad</a:t>
            </a:r>
          </a:p>
        </p:txBody>
      </p:sp>
      <p:pic>
        <p:nvPicPr>
          <p:cNvPr id="9" name="Imagen 8" descr="Laptop encendida junto a una computadora&#10;&#10;Descripción generada automáticamente">
            <a:extLst>
              <a:ext uri="{FF2B5EF4-FFF2-40B4-BE49-F238E27FC236}">
                <a16:creationId xmlns:a16="http://schemas.microsoft.com/office/drawing/2014/main" id="{1D75BA81-4FEC-F006-66B7-6A825E7D89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1783" y="7427100"/>
            <a:ext cx="4369669" cy="3277250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B9CE10C1-2971-C0B1-C498-74576486961E}"/>
              </a:ext>
            </a:extLst>
          </p:cNvPr>
          <p:cNvSpPr txBox="1"/>
          <p:nvPr/>
        </p:nvSpPr>
        <p:spPr>
          <a:xfrm>
            <a:off x="2266800" y="6664731"/>
            <a:ext cx="3977802" cy="5998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507776" rtl="0">
              <a:defRPr/>
            </a:pPr>
            <a:r>
              <a:rPr lang="es-ES" sz="3298" b="1" kern="1200">
                <a:solidFill>
                  <a:srgbClr val="0066FF"/>
                </a:solidFill>
                <a:latin typeface="Telefonica Sans" panose="02000003020000060003" pitchFamily="50" charset="0"/>
                <a:ea typeface="+mn-ea"/>
                <a:cs typeface="+mn-cs"/>
              </a:rPr>
              <a:t>HP EliteBook</a:t>
            </a:r>
          </a:p>
        </p:txBody>
      </p:sp>
      <p:pic>
        <p:nvPicPr>
          <p:cNvPr id="14" name="Imagen 13" descr="Logotipo, Icono&#10;&#10;Descripción generada automáticamente">
            <a:extLst>
              <a:ext uri="{FF2B5EF4-FFF2-40B4-BE49-F238E27FC236}">
                <a16:creationId xmlns:a16="http://schemas.microsoft.com/office/drawing/2014/main" id="{7EA185DB-88BB-4E4D-C084-8B040E651C5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075" y="7977639"/>
            <a:ext cx="1028282" cy="1028282"/>
          </a:xfrm>
          <a:prstGeom prst="rect">
            <a:avLst/>
          </a:prstGeom>
        </p:spPr>
      </p:pic>
      <p:pic>
        <p:nvPicPr>
          <p:cNvPr id="18" name="Imagen 17" descr="Logotipo&#10;&#10;Descripción generada automáticamente">
            <a:extLst>
              <a:ext uri="{FF2B5EF4-FFF2-40B4-BE49-F238E27FC236}">
                <a16:creationId xmlns:a16="http://schemas.microsoft.com/office/drawing/2014/main" id="{9E2DB5B2-CBA5-887F-C01E-99337259744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504" y="3873475"/>
            <a:ext cx="1872277" cy="623996"/>
          </a:xfrm>
          <a:prstGeom prst="rect">
            <a:avLst/>
          </a:prstGeom>
        </p:spPr>
      </p:pic>
      <p:sp>
        <p:nvSpPr>
          <p:cNvPr id="19" name="CuadroTexto 18">
            <a:extLst>
              <a:ext uri="{FF2B5EF4-FFF2-40B4-BE49-F238E27FC236}">
                <a16:creationId xmlns:a16="http://schemas.microsoft.com/office/drawing/2014/main" id="{9B3CF3D0-34F5-2B6C-0B7C-1B342C8FFDAB}"/>
              </a:ext>
            </a:extLst>
          </p:cNvPr>
          <p:cNvSpPr txBox="1"/>
          <p:nvPr/>
        </p:nvSpPr>
        <p:spPr>
          <a:xfrm>
            <a:off x="7480009" y="2775998"/>
            <a:ext cx="11700951" cy="5777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65416" indent="-565416" algn="l" defTabSz="1507776" rtl="0">
              <a:buFont typeface="Arial" panose="020B0604020202020204" pitchFamily="34" charset="0"/>
              <a:buChar char="•"/>
              <a:tabLst>
                <a:tab pos="1130831" algn="l"/>
              </a:tabLst>
              <a:defRPr/>
            </a:pPr>
            <a:r>
              <a:rPr lang="es-ES" sz="2309" b="1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Sistema operativo:</a:t>
            </a:r>
            <a:r>
              <a:rPr lang="es-ES" sz="2309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 </a:t>
            </a:r>
            <a:r>
              <a:rPr lang="es-ES" sz="2309" kern="1200">
                <a:solidFill>
                  <a:srgbClr val="0066FF"/>
                </a:solidFill>
                <a:latin typeface="Telefonica Sans" panose="02000003020000060003"/>
                <a:ea typeface="+mn-ea"/>
                <a:cs typeface="+mn-cs"/>
              </a:rPr>
              <a:t>Windows 11 Pro</a:t>
            </a:r>
          </a:p>
          <a:p>
            <a:pPr marL="565416" indent="-565416" algn="l" defTabSz="1507776" rtl="0">
              <a:buFont typeface="Arial" panose="020B0604020202020204" pitchFamily="34" charset="0"/>
              <a:buChar char="•"/>
              <a:tabLst>
                <a:tab pos="1130831" algn="l"/>
              </a:tabLst>
              <a:defRPr/>
            </a:pPr>
            <a:r>
              <a:rPr lang="es-ES" sz="2309" b="1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Pantalla:</a:t>
            </a:r>
            <a:r>
              <a:rPr lang="es-ES" sz="2309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 14”</a:t>
            </a:r>
          </a:p>
          <a:p>
            <a:pPr marL="565416" indent="-565416" algn="l" defTabSz="1507776" rtl="0">
              <a:buFont typeface="Arial" panose="020B0604020202020204" pitchFamily="34" charset="0"/>
              <a:buChar char="•"/>
              <a:tabLst>
                <a:tab pos="1130831" algn="l"/>
              </a:tabLst>
              <a:defRPr/>
            </a:pPr>
            <a:r>
              <a:rPr lang="es-ES" sz="2309" b="1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Cámara:</a:t>
            </a:r>
            <a:r>
              <a:rPr lang="es-ES" sz="2309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 HD Integrada + Obturador de privacidad</a:t>
            </a:r>
          </a:p>
          <a:p>
            <a:pPr marL="565416" indent="-565416" algn="l" defTabSz="1507776" rtl="0">
              <a:buFont typeface="Arial" panose="020B0604020202020204" pitchFamily="34" charset="0"/>
              <a:buChar char="•"/>
              <a:tabLst>
                <a:tab pos="1130831" algn="l"/>
              </a:tabLst>
              <a:defRPr/>
            </a:pPr>
            <a:r>
              <a:rPr lang="es-ES" sz="2309" b="1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Procesador:</a:t>
            </a:r>
            <a:r>
              <a:rPr lang="es-ES" sz="2309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 AMD Ryzen™ 5 PRO. TPM 2.0</a:t>
            </a:r>
          </a:p>
          <a:p>
            <a:pPr marL="565416" indent="-565416" algn="l" defTabSz="1507776" rtl="0">
              <a:buFont typeface="Arial" panose="020B0604020202020204" pitchFamily="34" charset="0"/>
              <a:buChar char="•"/>
              <a:tabLst>
                <a:tab pos="1130831" algn="l"/>
              </a:tabLst>
              <a:defRPr/>
            </a:pPr>
            <a:r>
              <a:rPr lang="es-ES" sz="2309" b="1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Tarjeta gráfica: </a:t>
            </a:r>
            <a:r>
              <a:rPr lang="es-ES" sz="2309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Integrada Full HD</a:t>
            </a:r>
          </a:p>
          <a:p>
            <a:pPr marL="565416" indent="-565416" algn="l" defTabSz="1507776" rtl="0">
              <a:buFont typeface="Arial" panose="020B0604020202020204" pitchFamily="34" charset="0"/>
              <a:buChar char="•"/>
              <a:tabLst>
                <a:tab pos="1130831" algn="l"/>
              </a:tabLst>
              <a:defRPr/>
            </a:pPr>
            <a:r>
              <a:rPr lang="es-ES" sz="2309" b="1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Memoria RAM:</a:t>
            </a:r>
            <a:r>
              <a:rPr lang="es-ES" sz="2309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 16 GB DDR5</a:t>
            </a:r>
          </a:p>
          <a:p>
            <a:pPr marL="565416" indent="-565416" algn="l" defTabSz="1507776" rtl="0">
              <a:buFont typeface="Arial" panose="020B0604020202020204" pitchFamily="34" charset="0"/>
              <a:buChar char="•"/>
              <a:tabLst>
                <a:tab pos="1130831" algn="l"/>
              </a:tabLst>
              <a:defRPr/>
            </a:pPr>
            <a:r>
              <a:rPr lang="es-ES" sz="2309" b="1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Almacenamiento:</a:t>
            </a:r>
            <a:r>
              <a:rPr lang="es-ES" sz="2309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 512 GB SSD </a:t>
            </a:r>
            <a:r>
              <a:rPr lang="es-ES" sz="2309" kern="1200" err="1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NVMe</a:t>
            </a:r>
            <a:r>
              <a:rPr lang="es-ES" sz="2309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 + Encriptado/cifrado en reposo.</a:t>
            </a:r>
          </a:p>
          <a:p>
            <a:pPr marL="565416" indent="-565416" algn="l" defTabSz="1507776" rtl="0">
              <a:buFont typeface="Arial" panose="020B0604020202020204" pitchFamily="34" charset="0"/>
              <a:buChar char="•"/>
              <a:tabLst>
                <a:tab pos="1130831" algn="l"/>
              </a:tabLst>
              <a:defRPr/>
            </a:pPr>
            <a:r>
              <a:rPr lang="es-ES" sz="2309" b="1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Conectividad:</a:t>
            </a:r>
            <a:r>
              <a:rPr lang="es-ES" sz="2309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 Inalámbrica </a:t>
            </a:r>
            <a:r>
              <a:rPr lang="es-ES" sz="2309" kern="1200" err="1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Wi</a:t>
            </a:r>
            <a:r>
              <a:rPr lang="es-ES" sz="2309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-Fi 6 + Bluetooth 5.3</a:t>
            </a:r>
          </a:p>
          <a:p>
            <a:pPr marL="565416" indent="-565416" algn="l" defTabSz="1507776" rtl="0">
              <a:buFont typeface="Arial" panose="020B0604020202020204" pitchFamily="34" charset="0"/>
              <a:buChar char="•"/>
              <a:tabLst>
                <a:tab pos="1130831" algn="l"/>
              </a:tabLst>
              <a:defRPr/>
            </a:pPr>
            <a:r>
              <a:rPr lang="es-ES" sz="2309" b="1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Puertos: </a:t>
            </a:r>
            <a:r>
              <a:rPr lang="es-ES" sz="2309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2x USB 3.0 tipo A, 1x USB 3.0 tipo C (DisplayPort + </a:t>
            </a:r>
            <a:r>
              <a:rPr lang="es-ES" sz="2309" kern="1200" err="1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Power</a:t>
            </a:r>
            <a:r>
              <a:rPr lang="es-ES" sz="2309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 </a:t>
            </a:r>
            <a:r>
              <a:rPr lang="es-ES" sz="2309" kern="1200" err="1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Delivery</a:t>
            </a:r>
            <a:r>
              <a:rPr lang="es-ES" sz="2309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 + USB), 1x Ethernet (RJ-45) 1 Gbps, 1x HDMI 2.1, 1x </a:t>
            </a:r>
            <a:r>
              <a:rPr lang="es-ES" sz="2309" kern="1200" err="1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jack</a:t>
            </a:r>
            <a:r>
              <a:rPr lang="es-ES" sz="2309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 3.5 mm combo para auriculares y micrófono</a:t>
            </a:r>
          </a:p>
          <a:p>
            <a:pPr marL="565416" indent="-565416" algn="l" defTabSz="1507776" rtl="0">
              <a:buFont typeface="Arial" panose="020B0604020202020204" pitchFamily="34" charset="0"/>
              <a:buChar char="•"/>
              <a:tabLst>
                <a:tab pos="1130831" algn="l"/>
              </a:tabLst>
              <a:defRPr/>
            </a:pPr>
            <a:r>
              <a:rPr lang="es-ES" sz="2309" b="1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Seguridad</a:t>
            </a:r>
            <a:r>
              <a:rPr lang="es-ES" sz="2309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: 1x Lector de tarjetas </a:t>
            </a:r>
            <a:r>
              <a:rPr lang="es-ES" sz="2309" kern="1200" err="1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smartcard</a:t>
            </a:r>
            <a:r>
              <a:rPr lang="es-ES" sz="2309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 (DNI-e), Identificación biométrica (huellas dactilares), obturador cámara integrado</a:t>
            </a:r>
          </a:p>
          <a:p>
            <a:pPr marL="565416" indent="-565416" algn="l" defTabSz="1507776" rtl="0">
              <a:buFont typeface="Arial" panose="020B0604020202020204" pitchFamily="34" charset="0"/>
              <a:buChar char="•"/>
              <a:tabLst>
                <a:tab pos="1130831" algn="l"/>
              </a:tabLst>
              <a:defRPr/>
            </a:pPr>
            <a:r>
              <a:rPr lang="es-ES" sz="2309" b="1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Garantía: 1 año. </a:t>
            </a:r>
            <a:r>
              <a:rPr lang="es-ES" sz="2309" kern="1200">
                <a:solidFill>
                  <a:srgbClr val="586179"/>
                </a:solidFill>
                <a:latin typeface="Telefonica Sans" panose="02000003020000060003"/>
                <a:ea typeface="+mn-ea"/>
                <a:cs typeface="+mn-cs"/>
              </a:rPr>
              <a:t>Reparación en 5 días laborables desde comunicación, en caso de no poder cumplirse ese plazo, se entregará un equipo similar de sustitución hasta la completa reparación.</a:t>
            </a:r>
          </a:p>
        </p:txBody>
      </p:sp>
      <p:sp>
        <p:nvSpPr>
          <p:cNvPr id="20" name="CuadroTexto 12">
            <a:extLst>
              <a:ext uri="{FF2B5EF4-FFF2-40B4-BE49-F238E27FC236}">
                <a16:creationId xmlns:a16="http://schemas.microsoft.com/office/drawing/2014/main" id="{FC8695C0-7E27-C91E-E385-DAEF031BEF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80009" y="1917491"/>
            <a:ext cx="11700951" cy="802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l" defTabSz="1507776" rtl="0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es-ES" altLang="es-ES" sz="4617" b="1" kern="1200" dirty="0">
                <a:solidFill>
                  <a:srgbClr val="0066FF"/>
                </a:solidFill>
                <a:latin typeface="Telefonica Sans DemiBold" panose="02000003020000060003" pitchFamily="2" charset="0"/>
                <a:ea typeface="+mn-ea"/>
                <a:cs typeface="+mn-cs"/>
              </a:rPr>
              <a:t>Ficha Técnica Dispositivos Kit Digital</a:t>
            </a:r>
          </a:p>
        </p:txBody>
      </p:sp>
      <p:pic>
        <p:nvPicPr>
          <p:cNvPr id="21" name="Imagen 20">
            <a:extLst>
              <a:ext uri="{FF2B5EF4-FFF2-40B4-BE49-F238E27FC236}">
                <a16:creationId xmlns:a16="http://schemas.microsoft.com/office/drawing/2014/main" id="{0EE2707C-5249-977C-421B-CAAC9ACD1E4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878223" y="242392"/>
            <a:ext cx="2907846" cy="1006206"/>
          </a:xfrm>
          <a:prstGeom prst="rect">
            <a:avLst/>
          </a:prstGeom>
        </p:spPr>
      </p:pic>
      <p:grpSp>
        <p:nvGrpSpPr>
          <p:cNvPr id="12" name="Grupo 11">
            <a:extLst>
              <a:ext uri="{FF2B5EF4-FFF2-40B4-BE49-F238E27FC236}">
                <a16:creationId xmlns:a16="http://schemas.microsoft.com/office/drawing/2014/main" id="{1D6C435E-B66F-FACC-E074-AB5F698BF097}"/>
              </a:ext>
            </a:extLst>
          </p:cNvPr>
          <p:cNvGrpSpPr/>
          <p:nvPr/>
        </p:nvGrpSpPr>
        <p:grpSpPr>
          <a:xfrm>
            <a:off x="329108" y="451872"/>
            <a:ext cx="1910801" cy="587648"/>
            <a:chOff x="-1276898" y="1766240"/>
            <a:chExt cx="1053522" cy="324000"/>
          </a:xfrm>
          <a:solidFill>
            <a:srgbClr val="0066FF"/>
          </a:solidFill>
        </p:grpSpPr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CE661D86-38CD-6383-9A5C-C77DFB26AF61}"/>
                </a:ext>
              </a:extLst>
            </p:cNvPr>
            <p:cNvSpPr/>
            <p:nvPr/>
          </p:nvSpPr>
          <p:spPr>
            <a:xfrm>
              <a:off x="-1276898" y="1766240"/>
              <a:ext cx="324000" cy="324000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1507776" rtl="0">
                <a:defRPr/>
              </a:pPr>
              <a:endParaRPr lang="es-ES_tradnl" sz="2968" kern="1200" err="1">
                <a:solidFill>
                  <a:srgbClr val="586179"/>
                </a:solidFill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Elipse 16">
              <a:extLst>
                <a:ext uri="{FF2B5EF4-FFF2-40B4-BE49-F238E27FC236}">
                  <a16:creationId xmlns:a16="http://schemas.microsoft.com/office/drawing/2014/main" id="{D6A64111-A43A-50E5-B885-E49668D0732B}"/>
                </a:ext>
              </a:extLst>
            </p:cNvPr>
            <p:cNvSpPr/>
            <p:nvPr/>
          </p:nvSpPr>
          <p:spPr>
            <a:xfrm>
              <a:off x="-912137" y="1766240"/>
              <a:ext cx="324000" cy="324000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1507776" rtl="0">
                <a:defRPr/>
              </a:pPr>
              <a:endParaRPr lang="es-ES_tradnl" sz="2968" kern="1200" err="1">
                <a:solidFill>
                  <a:srgbClr val="586179"/>
                </a:solidFill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" name="Elipse 21">
              <a:extLst>
                <a:ext uri="{FF2B5EF4-FFF2-40B4-BE49-F238E27FC236}">
                  <a16:creationId xmlns:a16="http://schemas.microsoft.com/office/drawing/2014/main" id="{6F043D69-B33B-E3D0-5CC8-EE78785DC270}"/>
                </a:ext>
              </a:extLst>
            </p:cNvPr>
            <p:cNvSpPr/>
            <p:nvPr/>
          </p:nvSpPr>
          <p:spPr>
            <a:xfrm>
              <a:off x="-547376" y="1766240"/>
              <a:ext cx="324000" cy="324000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1507776" rtl="0">
                <a:defRPr/>
              </a:pPr>
              <a:endParaRPr lang="es-ES_tradnl" sz="2968" kern="1200" err="1">
                <a:solidFill>
                  <a:srgbClr val="586179"/>
                </a:solidFill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8" name="CuadroTexto 27">
            <a:extLst>
              <a:ext uri="{FF2B5EF4-FFF2-40B4-BE49-F238E27FC236}">
                <a16:creationId xmlns:a16="http://schemas.microsoft.com/office/drawing/2014/main" id="{A6FF831C-65AF-A6AF-4AF8-D277CA6A6201}"/>
              </a:ext>
            </a:extLst>
          </p:cNvPr>
          <p:cNvSpPr txBox="1"/>
          <p:nvPr/>
        </p:nvSpPr>
        <p:spPr>
          <a:xfrm>
            <a:off x="2709602" y="381840"/>
            <a:ext cx="16366075" cy="862707"/>
          </a:xfrm>
          <a:prstGeom prst="rect">
            <a:avLst/>
          </a:prstGeom>
        </p:spPr>
        <p:txBody>
          <a:bodyPr vert="horz" lIns="150771" tIns="75385" rIns="150771" bIns="75385" rtlCol="0" anchor="t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1" i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507776" rtl="0">
              <a:defRPr/>
            </a:pPr>
            <a:r>
              <a:rPr lang="es-ES" sz="4400" kern="1200">
                <a:solidFill>
                  <a:srgbClr val="0066FF"/>
                </a:solidFill>
                <a:latin typeface="Arial" panose="020B0604020202020204"/>
                <a:cs typeface="Calibri" panose="020F0502020204030204" pitchFamily="34" charset="0"/>
              </a:rPr>
              <a:t>Equipamiento Puesto de Trabajo Seguro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CFE5E54E-60A0-A6A6-76CA-D8C5A463617F}"/>
              </a:ext>
            </a:extLst>
          </p:cNvPr>
          <p:cNvSpPr txBox="1"/>
          <p:nvPr/>
        </p:nvSpPr>
        <p:spPr>
          <a:xfrm>
            <a:off x="6855907" y="8719575"/>
            <a:ext cx="12534563" cy="9042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 rtl="0"/>
            <a:r>
              <a:rPr lang="es-ES" sz="2638" b="1" kern="1200">
                <a:solidFill>
                  <a:srgbClr val="0066FF"/>
                </a:solidFill>
                <a:latin typeface="Arial" panose="020B0604020202020204"/>
                <a:ea typeface="+mn-ea"/>
                <a:cs typeface="Calibri" panose="020F0502020204030204" pitchFamily="34" charset="0"/>
              </a:rPr>
              <a:t>La marca no será elegible por el cliente, se suministrará en cada caso la mejor opción cumpliendo los requisitos exigidos en el programa</a:t>
            </a:r>
          </a:p>
        </p:txBody>
      </p:sp>
    </p:spTree>
    <p:extLst>
      <p:ext uri="{BB962C8B-B14F-4D97-AF65-F5344CB8AC3E}">
        <p14:creationId xmlns:p14="http://schemas.microsoft.com/office/powerpoint/2010/main" val="7009584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0C7B448-9621-3615-0A41-548F6DB83C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618" y="3015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C7B448-9621-3615-0A41-548F6DB83C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3015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ángulo 15">
            <a:extLst>
              <a:ext uri="{FF2B5EF4-FFF2-40B4-BE49-F238E27FC236}">
                <a16:creationId xmlns:a16="http://schemas.microsoft.com/office/drawing/2014/main" id="{D6C4C373-B3FF-B292-06BE-71BC08B5877D}"/>
              </a:ext>
            </a:extLst>
          </p:cNvPr>
          <p:cNvSpPr/>
          <p:nvPr/>
        </p:nvSpPr>
        <p:spPr>
          <a:xfrm>
            <a:off x="2709086" y="1165065"/>
            <a:ext cx="13285516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1507785" rtl="0">
              <a:defRPr/>
            </a:pPr>
            <a:r>
              <a:rPr lang="es-ES" sz="3200" b="1" kern="1200">
                <a:solidFill>
                  <a:srgbClr val="586179"/>
                </a:solidFill>
                <a:latin typeface="Calibri"/>
                <a:ea typeface="MS Mincho" panose="02020609040205080304" pitchFamily="49" charset="-128"/>
                <a:cs typeface="+mn-cs"/>
              </a:rPr>
              <a:t>La tranquilidad de un entorno seguro teniendo tus dispositivos bajo control</a:t>
            </a:r>
          </a:p>
        </p:txBody>
      </p:sp>
      <p:pic>
        <p:nvPicPr>
          <p:cNvPr id="18" name="Gráfico 17">
            <a:extLst>
              <a:ext uri="{FF2B5EF4-FFF2-40B4-BE49-F238E27FC236}">
                <a16:creationId xmlns:a16="http://schemas.microsoft.com/office/drawing/2014/main" id="{02BF18EA-209D-7664-A111-71A3BA071E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085367" y="260721"/>
            <a:ext cx="744183" cy="744183"/>
          </a:xfrm>
          <a:prstGeom prst="rect">
            <a:avLst/>
          </a:prstGeom>
        </p:spPr>
      </p:pic>
      <p:sp>
        <p:nvSpPr>
          <p:cNvPr id="37" name="CuadroTexto 36">
            <a:extLst>
              <a:ext uri="{FF2B5EF4-FFF2-40B4-BE49-F238E27FC236}">
                <a16:creationId xmlns:a16="http://schemas.microsoft.com/office/drawing/2014/main" id="{A995AB3E-A10E-8575-0C28-449232756FC0}"/>
              </a:ext>
            </a:extLst>
          </p:cNvPr>
          <p:cNvSpPr txBox="1"/>
          <p:nvPr/>
        </p:nvSpPr>
        <p:spPr>
          <a:xfrm>
            <a:off x="2709086" y="381469"/>
            <a:ext cx="4585831" cy="862768"/>
          </a:xfrm>
          <a:prstGeom prst="rect">
            <a:avLst/>
          </a:prstGeom>
        </p:spPr>
        <p:txBody>
          <a:bodyPr vert="horz" lIns="150781" tIns="75390" rIns="150781" bIns="75390" rtlCol="0" anchor="t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1" i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507846" rtl="0">
              <a:defRPr/>
            </a:pPr>
            <a:r>
              <a:rPr lang="es-ES" sz="4400" kern="1200">
                <a:solidFill>
                  <a:srgbClr val="0066FF"/>
                </a:solidFill>
                <a:latin typeface="Arial" panose="020B0604020202020204"/>
                <a:cs typeface="Calibri" panose="020F0502020204030204" pitchFamily="34" charset="0"/>
              </a:rPr>
              <a:t>Ciberseguridad</a:t>
            </a: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29B8E9EC-0DB7-5D09-379E-60C8B24B2D8D}"/>
              </a:ext>
            </a:extLst>
          </p:cNvPr>
          <p:cNvSpPr/>
          <p:nvPr/>
        </p:nvSpPr>
        <p:spPr>
          <a:xfrm>
            <a:off x="800100" y="2370517"/>
            <a:ext cx="8928100" cy="7889116"/>
          </a:xfrm>
          <a:prstGeom prst="rect">
            <a:avLst/>
          </a:prstGeom>
          <a:noFill/>
          <a:ln w="381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785" rtl="0">
              <a:defRPr/>
            </a:pPr>
            <a:endParaRPr lang="es-ES" sz="2968" kern="120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D05CAE1F-A02D-893C-6DE0-69FD5F9634C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54755"/>
          <a:stretch/>
        </p:blipFill>
        <p:spPr>
          <a:xfrm>
            <a:off x="3009900" y="2876338"/>
            <a:ext cx="1953347" cy="716555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6ABC2E8C-3B9E-2CED-FD58-DE49803F87ED}"/>
              </a:ext>
            </a:extLst>
          </p:cNvPr>
          <p:cNvSpPr txBox="1"/>
          <p:nvPr/>
        </p:nvSpPr>
        <p:spPr>
          <a:xfrm>
            <a:off x="1303984" y="4029210"/>
            <a:ext cx="8011466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2721" indent="-282721" algn="l" defTabSz="1507846" rtl="0">
              <a:buFont typeface="Arial" panose="020B0604020202020204" pitchFamily="34" charset="0"/>
              <a:buChar char="•"/>
            </a:pPr>
            <a:r>
              <a:rPr lang="es-ES" sz="2310" b="1" kern="1200">
                <a:solidFill>
                  <a:srgbClr val="0066FF"/>
                </a:solidFill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Detección de malware:</a:t>
            </a:r>
            <a:r>
              <a:rPr lang="es-ES" sz="2310" b="1" kern="1200">
                <a:solidFill>
                  <a:srgbClr val="586179"/>
                </a:solidFill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 </a:t>
            </a:r>
            <a:r>
              <a:rPr lang="es-ES" sz="2310" kern="1200">
                <a:solidFill>
                  <a:srgbClr val="586179"/>
                </a:solidFill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analiza el dispositivo, su memoria interna y los dispositivos de almacenamiento externos. Detecta y elimina malware, virus y otros tipos de software malicioso sin sacrificar la velocidad.</a:t>
            </a:r>
          </a:p>
          <a:p>
            <a:pPr marL="282721" indent="-282721" algn="l" defTabSz="1507846" rtl="0">
              <a:buFont typeface="Arial" panose="020B0604020202020204" pitchFamily="34" charset="0"/>
              <a:buChar char="•"/>
            </a:pPr>
            <a:endParaRPr lang="es-ES" sz="2310" kern="1200">
              <a:solidFill>
                <a:srgbClr val="586179"/>
              </a:solidFill>
              <a:latin typeface="Telefonica Sans" panose="02000003020000060003" pitchFamily="50" charset="0"/>
              <a:ea typeface="+mn-ea"/>
              <a:cs typeface="Calibri" panose="020F0502020204030204" pitchFamily="34" charset="0"/>
            </a:endParaRPr>
          </a:p>
          <a:p>
            <a:pPr marL="282721" indent="-282721" algn="l" defTabSz="1507846" rtl="0">
              <a:buFont typeface="Arial" panose="020B0604020202020204" pitchFamily="34" charset="0"/>
              <a:buChar char="•"/>
            </a:pPr>
            <a:r>
              <a:rPr lang="es-ES" sz="2310" b="1" kern="1200">
                <a:solidFill>
                  <a:srgbClr val="0066FF"/>
                </a:solidFill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Correo seguro: </a:t>
            </a:r>
            <a:r>
              <a:rPr lang="es-ES" sz="2310" kern="1200">
                <a:solidFill>
                  <a:srgbClr val="586179"/>
                </a:solidFill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con capacidades antispam y </a:t>
            </a:r>
            <a:r>
              <a:rPr lang="es-ES" sz="2310" kern="1200" err="1">
                <a:solidFill>
                  <a:srgbClr val="586179"/>
                </a:solidFill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antiphishing</a:t>
            </a:r>
            <a:r>
              <a:rPr lang="es-ES" sz="2310" kern="1200">
                <a:solidFill>
                  <a:srgbClr val="586179"/>
                </a:solidFill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.</a:t>
            </a:r>
          </a:p>
          <a:p>
            <a:pPr marL="282721" indent="-282721" algn="l" defTabSz="1507846" rtl="0">
              <a:buFont typeface="Arial" panose="020B0604020202020204" pitchFamily="34" charset="0"/>
              <a:buChar char="•"/>
            </a:pPr>
            <a:endParaRPr lang="es-ES" sz="2310" kern="1200">
              <a:solidFill>
                <a:srgbClr val="586179"/>
              </a:solidFill>
              <a:latin typeface="Telefonica Sans" panose="02000003020000060003" pitchFamily="50" charset="0"/>
              <a:ea typeface="+mn-ea"/>
              <a:cs typeface="Calibri" panose="020F0502020204030204" pitchFamily="34" charset="0"/>
            </a:endParaRPr>
          </a:p>
          <a:p>
            <a:pPr marL="282721" indent="-282721" algn="l" defTabSz="1507846" rtl="0">
              <a:buFont typeface="Arial" panose="020B0604020202020204" pitchFamily="34" charset="0"/>
              <a:buChar char="•"/>
            </a:pPr>
            <a:r>
              <a:rPr lang="es-ES" sz="2310" b="1" kern="1200">
                <a:solidFill>
                  <a:srgbClr val="0066FF"/>
                </a:solidFill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Navegación segura.</a:t>
            </a:r>
          </a:p>
          <a:p>
            <a:pPr marL="282721" indent="-282721" algn="l" defTabSz="1507846" rtl="0">
              <a:buFont typeface="Arial" panose="020B0604020202020204" pitchFamily="34" charset="0"/>
              <a:buChar char="•"/>
            </a:pPr>
            <a:endParaRPr lang="es-ES" sz="2310" b="1" kern="1200">
              <a:solidFill>
                <a:srgbClr val="0066FF"/>
              </a:solidFill>
              <a:latin typeface="Telefonica Sans" panose="02000003020000060003" pitchFamily="50" charset="0"/>
              <a:ea typeface="+mn-ea"/>
              <a:cs typeface="Calibri" panose="020F0502020204030204" pitchFamily="34" charset="0"/>
            </a:endParaRPr>
          </a:p>
          <a:p>
            <a:pPr marL="282721" indent="-282721" algn="l" defTabSz="1507846" rtl="0">
              <a:buFont typeface="Arial" panose="020B0604020202020204" pitchFamily="34" charset="0"/>
              <a:buChar char="•"/>
            </a:pPr>
            <a:r>
              <a:rPr lang="es-ES" sz="2310" b="1" kern="1200">
                <a:solidFill>
                  <a:srgbClr val="0066FF"/>
                </a:solidFill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Análisis de vulnerabilidades: </a:t>
            </a:r>
            <a:r>
              <a:rPr lang="es-ES" sz="2310" kern="1200">
                <a:solidFill>
                  <a:srgbClr val="586179"/>
                </a:solidFill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examina HW y SW en busca de vulnerabilidades que puedan atacar.</a:t>
            </a:r>
          </a:p>
          <a:p>
            <a:pPr marL="282721" indent="-282721" algn="l" defTabSz="1507846" rtl="0">
              <a:buFont typeface="Arial" panose="020B0604020202020204" pitchFamily="34" charset="0"/>
              <a:buChar char="•"/>
            </a:pPr>
            <a:endParaRPr lang="es-ES" sz="2310" kern="1200">
              <a:solidFill>
                <a:srgbClr val="586179"/>
              </a:solidFill>
              <a:latin typeface="Telefonica Sans" panose="02000003020000060003" pitchFamily="50" charset="0"/>
              <a:ea typeface="+mn-ea"/>
              <a:cs typeface="Calibri" panose="020F0502020204030204" pitchFamily="34" charset="0"/>
            </a:endParaRPr>
          </a:p>
          <a:p>
            <a:pPr marL="282721" indent="-282721" algn="l" defTabSz="1507846" rtl="0">
              <a:buFont typeface="Arial" panose="020B0604020202020204" pitchFamily="34" charset="0"/>
              <a:buChar char="•"/>
            </a:pPr>
            <a:r>
              <a:rPr lang="es-ES" sz="2310" b="1" kern="1200">
                <a:solidFill>
                  <a:srgbClr val="0066FF"/>
                </a:solidFill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Monitorización de la red: </a:t>
            </a:r>
            <a:r>
              <a:rPr lang="es-ES" sz="2310" kern="1200">
                <a:solidFill>
                  <a:srgbClr val="586179"/>
                </a:solidFill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mantiene una vista constante sobre el tráfico de red y detecta cualquier actividad sospechosa o maliciosa.</a:t>
            </a:r>
            <a:endParaRPr lang="es-ES" sz="2310" kern="1200">
              <a:solidFill>
                <a:srgbClr val="586179"/>
              </a:solidFill>
              <a:latin typeface="Telefonica Sans" panose="02000003020000060003" pitchFamily="50" charset="0"/>
              <a:ea typeface="+mn-ea"/>
              <a:cs typeface="+mn-cs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87A78B86-FA71-5669-19B3-C10F122ED6A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7895"/>
          <a:stretch/>
        </p:blipFill>
        <p:spPr>
          <a:xfrm>
            <a:off x="5058495" y="2742794"/>
            <a:ext cx="2141171" cy="786656"/>
          </a:xfrm>
          <a:prstGeom prst="rect">
            <a:avLst/>
          </a:prstGeom>
        </p:spPr>
      </p:pic>
      <p:pic>
        <p:nvPicPr>
          <p:cNvPr id="1026" name="Picture 2" descr="Antivirus, Protection, Security Icon Gráfico por hr-gold · Creative Fabrica">
            <a:extLst>
              <a:ext uri="{FF2B5EF4-FFF2-40B4-BE49-F238E27FC236}">
                <a16:creationId xmlns:a16="http://schemas.microsoft.com/office/drawing/2014/main" id="{C9BF236F-DB55-5288-6CA8-490F3E19F5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3799" y="2609850"/>
            <a:ext cx="1591032" cy="1083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ctángulo 30">
            <a:extLst>
              <a:ext uri="{FF2B5EF4-FFF2-40B4-BE49-F238E27FC236}">
                <a16:creationId xmlns:a16="http://schemas.microsoft.com/office/drawing/2014/main" id="{79021F8C-5377-D64B-411A-5F647B8AB44F}"/>
              </a:ext>
            </a:extLst>
          </p:cNvPr>
          <p:cNvSpPr/>
          <p:nvPr/>
        </p:nvSpPr>
        <p:spPr>
          <a:xfrm>
            <a:off x="10400222" y="2370517"/>
            <a:ext cx="8928100" cy="7889116"/>
          </a:xfrm>
          <a:prstGeom prst="rect">
            <a:avLst/>
          </a:prstGeom>
          <a:noFill/>
          <a:ln w="381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785" rtl="0">
              <a:defRPr/>
            </a:pPr>
            <a:endParaRPr lang="es-ES" sz="2968" kern="12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0AB1D2BF-4708-CFF6-D945-EFB820977159}"/>
              </a:ext>
            </a:extLst>
          </p:cNvPr>
          <p:cNvSpPr txBox="1"/>
          <p:nvPr/>
        </p:nvSpPr>
        <p:spPr>
          <a:xfrm>
            <a:off x="10856136" y="4029210"/>
            <a:ext cx="8016271" cy="5777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309" b="1" i="0" u="none" strike="noStrike" kern="1200" cap="none" spc="0" normalizeH="0" baseline="0" noProof="0">
                <a:ln>
                  <a:noFill/>
                </a:ln>
                <a:solidFill>
                  <a:srgbClr val="0066FF"/>
                </a:solidFill>
                <a:effectLst/>
                <a:uLnTx/>
                <a:uFillTx/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Programa de formación y concienciación online </a:t>
            </a:r>
            <a:r>
              <a:rPr kumimoji="0" lang="es-ES" sz="2309" b="0" i="0" u="none" strike="noStrike" kern="1200" cap="none" spc="0" normalizeH="0" baseline="0" noProof="0">
                <a:ln>
                  <a:noFill/>
                </a:ln>
                <a:solidFill>
                  <a:srgbClr val="586179"/>
                </a:solidFill>
                <a:effectLst/>
                <a:uLnTx/>
                <a:uFillTx/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con el siguiente alcance: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309" b="0" i="0" u="none" strike="noStrike" kern="1200" cap="none" spc="0" normalizeH="0" baseline="0" noProof="0">
              <a:ln>
                <a:noFill/>
              </a:ln>
              <a:solidFill>
                <a:srgbClr val="586179"/>
              </a:solidFill>
              <a:effectLst/>
              <a:uLnTx/>
              <a:uFillTx/>
              <a:latin typeface="Telefonica Sans" panose="02000003020000060003" pitchFamily="50" charset="0"/>
              <a:ea typeface="+mn-ea"/>
              <a:cs typeface="Calibri" panose="020F0502020204030204" pitchFamily="34" charset="0"/>
            </a:endParaRPr>
          </a:p>
          <a:p>
            <a:pPr marL="282721" marR="0" lvl="0" indent="-282721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2309" b="1" i="0" u="none" strike="noStrike" kern="1200" cap="none" spc="0" normalizeH="0" baseline="0" noProof="0">
                <a:ln>
                  <a:noFill/>
                </a:ln>
                <a:solidFill>
                  <a:srgbClr val="586179"/>
                </a:solidFill>
                <a:effectLst/>
                <a:uLnTx/>
                <a:uFillTx/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Principios y conceptos básicos</a:t>
            </a:r>
            <a:r>
              <a:rPr kumimoji="0" lang="es-ES" sz="2309" b="0" i="0" u="none" strike="noStrike" kern="1200" cap="none" spc="0" normalizeH="0" baseline="0" noProof="0">
                <a:ln>
                  <a:noFill/>
                </a:ln>
                <a:solidFill>
                  <a:srgbClr val="586179"/>
                </a:solidFill>
                <a:effectLst/>
                <a:uLnTx/>
                <a:uFillTx/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 en ciberseguridad y su importancia en entornos de trabajo. </a:t>
            </a:r>
          </a:p>
          <a:p>
            <a:pPr marL="282721" marR="0" lvl="0" indent="-282721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2309" b="0" i="0" u="none" strike="noStrike" kern="1200" cap="none" spc="0" normalizeH="0" baseline="0" noProof="0">
              <a:ln>
                <a:noFill/>
              </a:ln>
              <a:solidFill>
                <a:srgbClr val="586179"/>
              </a:solidFill>
              <a:effectLst/>
              <a:uLnTx/>
              <a:uFillTx/>
              <a:latin typeface="Telefonica Sans" panose="02000003020000060003" pitchFamily="50" charset="0"/>
              <a:ea typeface="+mn-ea"/>
              <a:cs typeface="Calibri" panose="020F0502020204030204" pitchFamily="34" charset="0"/>
            </a:endParaRPr>
          </a:p>
          <a:p>
            <a:pPr marL="282721" marR="0" lvl="0" indent="-282721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2309" b="0" i="0" u="none" strike="noStrike" kern="1200" cap="none" spc="0" normalizeH="0" baseline="0" noProof="0">
                <a:ln>
                  <a:noFill/>
                </a:ln>
                <a:solidFill>
                  <a:srgbClr val="586179"/>
                </a:solidFill>
                <a:effectLst/>
                <a:uLnTx/>
                <a:uFillTx/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Tipos de </a:t>
            </a:r>
            <a:r>
              <a:rPr kumimoji="0" lang="es-ES" sz="2309" b="1" i="0" u="none" strike="noStrike" kern="1200" cap="none" spc="0" normalizeH="0" baseline="0" noProof="0">
                <a:ln>
                  <a:noFill/>
                </a:ln>
                <a:solidFill>
                  <a:srgbClr val="586179"/>
                </a:solidFill>
                <a:effectLst/>
                <a:uLnTx/>
                <a:uFillTx/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amenazas</a:t>
            </a:r>
            <a:r>
              <a:rPr kumimoji="0" lang="es-ES" sz="2309" b="0" i="0" u="none" strike="noStrike" kern="1200" cap="none" spc="0" normalizeH="0" baseline="0" noProof="0">
                <a:ln>
                  <a:noFill/>
                </a:ln>
                <a:solidFill>
                  <a:srgbClr val="586179"/>
                </a:solidFill>
                <a:effectLst/>
                <a:uLnTx/>
                <a:uFillTx/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 y su impacto en las organizaciones.</a:t>
            </a:r>
          </a:p>
          <a:p>
            <a:pPr marL="282721" marR="0" lvl="0" indent="-282721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2309" b="0" i="0" u="none" strike="noStrike" kern="1200" cap="none" spc="0" normalizeH="0" baseline="0" noProof="0">
              <a:ln>
                <a:noFill/>
              </a:ln>
              <a:solidFill>
                <a:srgbClr val="586179"/>
              </a:solidFill>
              <a:effectLst/>
              <a:uLnTx/>
              <a:uFillTx/>
              <a:latin typeface="Telefonica Sans" panose="02000003020000060003" pitchFamily="50" charset="0"/>
              <a:ea typeface="+mn-ea"/>
              <a:cs typeface="Calibri" panose="020F0502020204030204" pitchFamily="34" charset="0"/>
            </a:endParaRPr>
          </a:p>
          <a:p>
            <a:pPr marL="282721" marR="0" lvl="0" indent="-282721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2309" b="1" i="0" u="none" strike="noStrike" kern="1200" cap="none" spc="0" normalizeH="0" baseline="0" noProof="0">
                <a:ln>
                  <a:noFill/>
                </a:ln>
                <a:solidFill>
                  <a:srgbClr val="586179"/>
                </a:solidFill>
                <a:effectLst/>
                <a:uLnTx/>
                <a:uFillTx/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Legislación, reglamentación y tratamiento </a:t>
            </a:r>
            <a:r>
              <a:rPr kumimoji="0" lang="es-ES" sz="2309" b="0" i="0" u="none" strike="noStrike" kern="1200" cap="none" spc="0" normalizeH="0" baseline="0" noProof="0">
                <a:ln>
                  <a:noFill/>
                </a:ln>
                <a:solidFill>
                  <a:srgbClr val="586179"/>
                </a:solidFill>
                <a:effectLst/>
                <a:uLnTx/>
                <a:uFillTx/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de la información y sus implicaciones.</a:t>
            </a:r>
          </a:p>
          <a:p>
            <a:pPr marL="282721" marR="0" lvl="0" indent="-282721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2309" b="0" i="0" u="none" strike="noStrike" kern="1200" cap="none" spc="0" normalizeH="0" baseline="0" noProof="0">
              <a:ln>
                <a:noFill/>
              </a:ln>
              <a:solidFill>
                <a:srgbClr val="586179"/>
              </a:solidFill>
              <a:effectLst/>
              <a:uLnTx/>
              <a:uFillTx/>
              <a:latin typeface="Telefonica Sans" panose="02000003020000060003" pitchFamily="50" charset="0"/>
              <a:ea typeface="+mn-ea"/>
              <a:cs typeface="Calibri" panose="020F0502020204030204" pitchFamily="34" charset="0"/>
            </a:endParaRPr>
          </a:p>
          <a:p>
            <a:pPr marL="282721" marR="0" lvl="0" indent="-282721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2309" b="1" i="0" u="none" strike="noStrike" kern="1200" cap="none" spc="0" normalizeH="0" baseline="0" noProof="0">
                <a:ln>
                  <a:noFill/>
                </a:ln>
                <a:solidFill>
                  <a:srgbClr val="586179"/>
                </a:solidFill>
                <a:effectLst/>
                <a:uLnTx/>
                <a:uFillTx/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Uso básico en ciberseguridad </a:t>
            </a:r>
            <a:r>
              <a:rPr kumimoji="0" lang="es-ES" sz="2309" b="0" i="0" u="none" strike="noStrike" kern="1200" cap="none" spc="0" normalizeH="0" baseline="0" noProof="0">
                <a:ln>
                  <a:noFill/>
                </a:ln>
                <a:solidFill>
                  <a:srgbClr val="586179"/>
                </a:solidFill>
                <a:effectLst/>
                <a:uLnTx/>
                <a:uFillTx/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del equipamiento corporativo.</a:t>
            </a:r>
          </a:p>
          <a:p>
            <a:pPr marL="282721" marR="0" lvl="0" indent="-282721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2309" b="0" i="0" u="none" strike="noStrike" kern="1200" cap="none" spc="0" normalizeH="0" baseline="0" noProof="0">
              <a:ln>
                <a:noFill/>
              </a:ln>
              <a:solidFill>
                <a:srgbClr val="586179"/>
              </a:solidFill>
              <a:effectLst/>
              <a:uLnTx/>
              <a:uFillTx/>
              <a:latin typeface="Telefonica Sans" panose="02000003020000060003" pitchFamily="50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309" b="0" i="0" u="none" strike="noStrike" kern="1200" cap="none" spc="0" normalizeH="0" baseline="0" noProof="0">
                <a:ln>
                  <a:noFill/>
                </a:ln>
                <a:solidFill>
                  <a:srgbClr val="586179"/>
                </a:solidFill>
                <a:effectLst/>
                <a:uLnTx/>
                <a:uFillTx/>
                <a:latin typeface="Telefonica Sans" panose="02000003020000060003" pitchFamily="50" charset="0"/>
                <a:ea typeface="+mn-ea"/>
                <a:cs typeface="Calibri" panose="020F0502020204030204" pitchFamily="34" charset="0"/>
              </a:rPr>
              <a:t>Aproximadamente 2 horas de formación con un test y un certificado de acreditación.</a:t>
            </a:r>
            <a:endParaRPr kumimoji="0" lang="es-ES" sz="2309" b="0" i="0" u="none" strike="noStrike" kern="1200" cap="none" spc="0" normalizeH="0" baseline="0" noProof="0">
              <a:ln>
                <a:noFill/>
              </a:ln>
              <a:solidFill>
                <a:srgbClr val="586179"/>
              </a:solidFill>
              <a:effectLst/>
              <a:uLnTx/>
              <a:uFillTx/>
              <a:latin typeface="Telefonica Sans" panose="02000003020000060003" pitchFamily="50" charset="0"/>
              <a:ea typeface="+mn-ea"/>
              <a:cs typeface="+mn-cs"/>
            </a:endParaRP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30F74491-AB65-9470-DFBE-DB63E314C7EA}"/>
              </a:ext>
            </a:extLst>
          </p:cNvPr>
          <p:cNvSpPr/>
          <p:nvPr/>
        </p:nvSpPr>
        <p:spPr>
          <a:xfrm>
            <a:off x="10400222" y="2777204"/>
            <a:ext cx="8928100" cy="9042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507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638" b="1" i="0" u="none" strike="noStrike" kern="1200" cap="none" spc="0" normalizeH="0" baseline="0" noProof="0" err="1">
                <a:ln>
                  <a:noFill/>
                </a:ln>
                <a:solidFill>
                  <a:srgbClr val="6E7893">
                    <a:lumMod val="50000"/>
                  </a:srgbClr>
                </a:solidFill>
                <a:effectLst/>
                <a:uLnTx/>
                <a:uFillTx/>
                <a:latin typeface="Telefonica Sans DemiBold" panose="02000003020000060003" pitchFamily="50" charset="0"/>
                <a:ea typeface="+mn-ea"/>
                <a:cs typeface="Segoe UI" panose="020B0502040204020203" pitchFamily="34" charset="0"/>
              </a:rPr>
              <a:t>Ciberacademia</a:t>
            </a:r>
            <a:r>
              <a:rPr kumimoji="0" lang="es-ES" sz="2638" b="1" i="0" u="none" strike="noStrike" kern="1200" cap="none" spc="0" normalizeH="0" baseline="0" noProof="0">
                <a:ln>
                  <a:noFill/>
                </a:ln>
                <a:solidFill>
                  <a:srgbClr val="6E7893">
                    <a:lumMod val="50000"/>
                  </a:srgbClr>
                </a:solidFill>
                <a:effectLst/>
                <a:uLnTx/>
                <a:uFillTx/>
                <a:latin typeface="Telefonica Sans DemiBold" panose="02000003020000060003" pitchFamily="50" charset="0"/>
                <a:ea typeface="+mn-ea"/>
                <a:cs typeface="Segoe UI" panose="020B0502040204020203" pitchFamily="34" charset="0"/>
              </a:rPr>
              <a:t> </a:t>
            </a:r>
            <a:endParaRPr lang="es-ES" sz="2638" b="1" kern="1200">
              <a:solidFill>
                <a:srgbClr val="6E7893">
                  <a:lumMod val="50000"/>
                </a:srgbClr>
              </a:solidFill>
              <a:latin typeface="Telefonica Sans DemiBold" panose="02000003020000060003" pitchFamily="50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ctr" defTabSz="15077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638" b="1" i="0" u="none" strike="noStrike" kern="1200" cap="none" spc="0" normalizeH="0" baseline="0" noProof="0">
                <a:ln>
                  <a:noFill/>
                </a:ln>
                <a:solidFill>
                  <a:srgbClr val="6E7893">
                    <a:lumMod val="50000"/>
                  </a:srgbClr>
                </a:solidFill>
                <a:effectLst/>
                <a:uLnTx/>
                <a:uFillTx/>
                <a:latin typeface="Telefonica Sans DemiBold" panose="02000003020000060003" pitchFamily="50" charset="0"/>
                <a:ea typeface="+mn-ea"/>
                <a:cs typeface="Segoe UI" panose="020B0502040204020203" pitchFamily="34" charset="0"/>
              </a:rPr>
              <a:t>concienciación ciberseguridad</a:t>
            </a:r>
          </a:p>
        </p:txBody>
      </p:sp>
      <p:pic>
        <p:nvPicPr>
          <p:cNvPr id="34" name="Picture 4" descr="Learning Icon by Richard de Ruijter on Dribbble">
            <a:extLst>
              <a:ext uri="{FF2B5EF4-FFF2-40B4-BE49-F238E27FC236}">
                <a16:creationId xmlns:a16="http://schemas.microsoft.com/office/drawing/2014/main" id="{0085F5B8-CF0C-2893-E0EF-0A69F35EB6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15628" y="2678731"/>
            <a:ext cx="1456358" cy="1090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CuadroTexto 38">
            <a:extLst>
              <a:ext uri="{FF2B5EF4-FFF2-40B4-BE49-F238E27FC236}">
                <a16:creationId xmlns:a16="http://schemas.microsoft.com/office/drawing/2014/main" id="{0D148AC7-8C92-DADA-0E25-3DB65CC38E5C}"/>
              </a:ext>
            </a:extLst>
          </p:cNvPr>
          <p:cNvSpPr txBox="1"/>
          <p:nvPr/>
        </p:nvSpPr>
        <p:spPr>
          <a:xfrm>
            <a:off x="9523272" y="5469603"/>
            <a:ext cx="1142806" cy="18000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ES"/>
          </a:p>
        </p:txBody>
      </p:sp>
      <p:sp>
        <p:nvSpPr>
          <p:cNvPr id="36" name="Signo más 35">
            <a:extLst>
              <a:ext uri="{FF2B5EF4-FFF2-40B4-BE49-F238E27FC236}">
                <a16:creationId xmlns:a16="http://schemas.microsoft.com/office/drawing/2014/main" id="{A879CA91-32D3-4C0B-5FDF-FF3DC6FE23CB}"/>
              </a:ext>
            </a:extLst>
          </p:cNvPr>
          <p:cNvSpPr/>
          <p:nvPr/>
        </p:nvSpPr>
        <p:spPr>
          <a:xfrm>
            <a:off x="9539674" y="5927192"/>
            <a:ext cx="1080000" cy="936000"/>
          </a:xfrm>
          <a:prstGeom prst="mathPlus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srgbClr val="FFFFFF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6664873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n 26" descr="Interfaz de usuario gráfica, Texto&#10;&#10;Descripción generada automáticamente">
            <a:extLst>
              <a:ext uri="{FF2B5EF4-FFF2-40B4-BE49-F238E27FC236}">
                <a16:creationId xmlns:a16="http://schemas.microsoft.com/office/drawing/2014/main" id="{F34B764B-3D7F-4C55-B5AF-D9F4305C8EE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53" r="16907" b="36385"/>
          <a:stretch/>
        </p:blipFill>
        <p:spPr>
          <a:xfrm>
            <a:off x="16107443" y="10336199"/>
            <a:ext cx="3678627" cy="820842"/>
          </a:xfrm>
          <a:prstGeom prst="rect">
            <a:avLst/>
          </a:prstGeom>
        </p:spPr>
      </p:pic>
      <p:sp>
        <p:nvSpPr>
          <p:cNvPr id="26" name="Rectángulo 25">
            <a:extLst>
              <a:ext uri="{FF2B5EF4-FFF2-40B4-BE49-F238E27FC236}">
                <a16:creationId xmlns:a16="http://schemas.microsoft.com/office/drawing/2014/main" id="{3E55E1EF-3CE7-4626-876E-E3851934E4A9}"/>
              </a:ext>
            </a:extLst>
          </p:cNvPr>
          <p:cNvSpPr/>
          <p:nvPr/>
        </p:nvSpPr>
        <p:spPr>
          <a:xfrm>
            <a:off x="14801379" y="-1232641"/>
            <a:ext cx="4887517" cy="858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776" rtl="0">
              <a:defRPr/>
            </a:pPr>
            <a:endParaRPr lang="es-ES" sz="2968" kern="1200">
              <a:solidFill>
                <a:srgbClr val="0066FF"/>
              </a:solidFill>
              <a:latin typeface="Calibri" panose="020F0502020204030204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31642A1E-2EDD-4244-DFED-65E61539F467}"/>
              </a:ext>
            </a:extLst>
          </p:cNvPr>
          <p:cNvSpPr/>
          <p:nvPr/>
        </p:nvSpPr>
        <p:spPr>
          <a:xfrm>
            <a:off x="4919068" y="7130631"/>
            <a:ext cx="1167748" cy="767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776" rtl="0">
              <a:defRPr/>
            </a:pPr>
            <a:endParaRPr lang="es-ES" sz="2968" kern="1200">
              <a:solidFill>
                <a:prstClr val="white"/>
              </a:solidFill>
              <a:latin typeface="Telefonica Sans" panose="02000003020000060003" pitchFamily="2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9057100-4FC5-10C9-8C45-D8EB38FACB7C}"/>
              </a:ext>
            </a:extLst>
          </p:cNvPr>
          <p:cNvSpPr/>
          <p:nvPr/>
        </p:nvSpPr>
        <p:spPr>
          <a:xfrm>
            <a:off x="4161582" y="7753582"/>
            <a:ext cx="2694325" cy="7592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776" rtl="0">
              <a:defRPr/>
            </a:pPr>
            <a:endParaRPr lang="es-ES" sz="2968" kern="1200">
              <a:solidFill>
                <a:srgbClr val="6E7894"/>
              </a:solidFill>
              <a:latin typeface="Telefonica Sans" panose="02000003020000060003" pitchFamily="2" charset="0"/>
            </a:endParaRPr>
          </a:p>
        </p:txBody>
      </p:sp>
      <p:sp>
        <p:nvSpPr>
          <p:cNvPr id="20" name="CuadroTexto 12">
            <a:extLst>
              <a:ext uri="{FF2B5EF4-FFF2-40B4-BE49-F238E27FC236}">
                <a16:creationId xmlns:a16="http://schemas.microsoft.com/office/drawing/2014/main" id="{FC8695C0-7E27-C91E-E385-DAEF031BEF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17121" y="2634340"/>
            <a:ext cx="11700951" cy="800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3" tIns="45717" rIns="91433" bIns="45717" anchor="t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l" defTabSz="1507776" rtl="0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es-ES" altLang="es-ES" sz="4599" b="1" kern="1200">
                <a:solidFill>
                  <a:srgbClr val="0066FF"/>
                </a:solidFill>
                <a:latin typeface="Telefonica Sans DemiBold"/>
                <a:ea typeface="+mn-ea"/>
                <a:cs typeface="+mn-cs"/>
              </a:rPr>
              <a:t>Ficha Técnica </a:t>
            </a:r>
          </a:p>
        </p:txBody>
      </p:sp>
      <p:pic>
        <p:nvPicPr>
          <p:cNvPr id="21" name="Imagen 20">
            <a:extLst>
              <a:ext uri="{FF2B5EF4-FFF2-40B4-BE49-F238E27FC236}">
                <a16:creationId xmlns:a16="http://schemas.microsoft.com/office/drawing/2014/main" id="{0EE2707C-5249-977C-421B-CAAC9ACD1E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878223" y="242392"/>
            <a:ext cx="2907846" cy="1006206"/>
          </a:xfrm>
          <a:prstGeom prst="rect">
            <a:avLst/>
          </a:prstGeom>
        </p:spPr>
      </p:pic>
      <p:grpSp>
        <p:nvGrpSpPr>
          <p:cNvPr id="12" name="Grupo 11">
            <a:extLst>
              <a:ext uri="{FF2B5EF4-FFF2-40B4-BE49-F238E27FC236}">
                <a16:creationId xmlns:a16="http://schemas.microsoft.com/office/drawing/2014/main" id="{1D6C435E-B66F-FACC-E074-AB5F698BF097}"/>
              </a:ext>
            </a:extLst>
          </p:cNvPr>
          <p:cNvGrpSpPr/>
          <p:nvPr/>
        </p:nvGrpSpPr>
        <p:grpSpPr>
          <a:xfrm>
            <a:off x="329108" y="451872"/>
            <a:ext cx="1910801" cy="587648"/>
            <a:chOff x="-1276898" y="1766240"/>
            <a:chExt cx="1053522" cy="324000"/>
          </a:xfrm>
          <a:solidFill>
            <a:srgbClr val="0066FF"/>
          </a:solidFill>
        </p:grpSpPr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CE661D86-38CD-6383-9A5C-C77DFB26AF61}"/>
                </a:ext>
              </a:extLst>
            </p:cNvPr>
            <p:cNvSpPr/>
            <p:nvPr/>
          </p:nvSpPr>
          <p:spPr>
            <a:xfrm>
              <a:off x="-1276898" y="1766240"/>
              <a:ext cx="324000" cy="324000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1507776" rtl="0">
                <a:defRPr/>
              </a:pPr>
              <a:endParaRPr lang="es-ES_tradnl" sz="2968" kern="1200" err="1">
                <a:solidFill>
                  <a:srgbClr val="586179"/>
                </a:solidFill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Elipse 16">
              <a:extLst>
                <a:ext uri="{FF2B5EF4-FFF2-40B4-BE49-F238E27FC236}">
                  <a16:creationId xmlns:a16="http://schemas.microsoft.com/office/drawing/2014/main" id="{D6A64111-A43A-50E5-B885-E49668D0732B}"/>
                </a:ext>
              </a:extLst>
            </p:cNvPr>
            <p:cNvSpPr/>
            <p:nvPr/>
          </p:nvSpPr>
          <p:spPr>
            <a:xfrm>
              <a:off x="-912137" y="1766240"/>
              <a:ext cx="324000" cy="324000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1507776" rtl="0">
                <a:defRPr/>
              </a:pPr>
              <a:endParaRPr lang="es-ES_tradnl" sz="2968" kern="1200" err="1">
                <a:solidFill>
                  <a:srgbClr val="586179"/>
                </a:solidFill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" name="Elipse 21">
              <a:extLst>
                <a:ext uri="{FF2B5EF4-FFF2-40B4-BE49-F238E27FC236}">
                  <a16:creationId xmlns:a16="http://schemas.microsoft.com/office/drawing/2014/main" id="{6F043D69-B33B-E3D0-5CC8-EE78785DC270}"/>
                </a:ext>
              </a:extLst>
            </p:cNvPr>
            <p:cNvSpPr/>
            <p:nvPr/>
          </p:nvSpPr>
          <p:spPr>
            <a:xfrm>
              <a:off x="-547376" y="1766240"/>
              <a:ext cx="324000" cy="324000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1507776" rtl="0">
                <a:defRPr/>
              </a:pPr>
              <a:endParaRPr lang="es-ES_tradnl" sz="2968" kern="1200" err="1">
                <a:solidFill>
                  <a:srgbClr val="586179"/>
                </a:solidFill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8" name="CuadroTexto 27">
            <a:extLst>
              <a:ext uri="{FF2B5EF4-FFF2-40B4-BE49-F238E27FC236}">
                <a16:creationId xmlns:a16="http://schemas.microsoft.com/office/drawing/2014/main" id="{A6FF831C-65AF-A6AF-4AF8-D277CA6A6201}"/>
              </a:ext>
            </a:extLst>
          </p:cNvPr>
          <p:cNvSpPr txBox="1"/>
          <p:nvPr/>
        </p:nvSpPr>
        <p:spPr>
          <a:xfrm>
            <a:off x="2709602" y="381840"/>
            <a:ext cx="16366075" cy="862707"/>
          </a:xfrm>
          <a:prstGeom prst="rect">
            <a:avLst/>
          </a:prstGeom>
        </p:spPr>
        <p:txBody>
          <a:bodyPr vert="horz" lIns="150771" tIns="75385" rIns="150771" bIns="75385" rtlCol="0" anchor="t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1" i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507776" rtl="0">
              <a:defRPr/>
            </a:pPr>
            <a:r>
              <a:rPr lang="es-ES" sz="4400" kern="1200">
                <a:solidFill>
                  <a:srgbClr val="0066FF"/>
                </a:solidFill>
                <a:latin typeface="Arial" panose="020B0604020202020204"/>
                <a:cs typeface="Calibri"/>
              </a:rPr>
              <a:t>Equipamiento </a:t>
            </a:r>
            <a:r>
              <a:rPr lang="es-ES" sz="4400" kern="1200" err="1">
                <a:solidFill>
                  <a:srgbClr val="0066FF"/>
                </a:solidFill>
                <a:latin typeface="Arial" panose="020B0604020202020204"/>
                <a:cs typeface="Calibri"/>
              </a:rPr>
              <a:t>Geogestión</a:t>
            </a:r>
            <a:r>
              <a:rPr lang="es-ES" sz="4400" kern="1200">
                <a:solidFill>
                  <a:srgbClr val="0066FF"/>
                </a:solidFill>
                <a:latin typeface="Arial" panose="020B0604020202020204"/>
                <a:cs typeface="Calibri"/>
              </a:rPr>
              <a:t> + Tablet</a:t>
            </a:r>
            <a:endParaRPr lang="es-ES" sz="4400" kern="1200">
              <a:solidFill>
                <a:srgbClr val="0066FF"/>
              </a:solidFill>
              <a:latin typeface="Arial" panose="020B0604020202020204"/>
              <a:cs typeface="Calibri" panose="020F0502020204030204" pitchFamily="34" charset="0"/>
            </a:endParaRPr>
          </a:p>
        </p:txBody>
      </p:sp>
      <p:pic>
        <p:nvPicPr>
          <p:cNvPr id="2" name="Imagen 1" descr="Una pantalla de un celular con la pantalla encendida&#10;&#10;Descripción generada automáticamente">
            <a:extLst>
              <a:ext uri="{FF2B5EF4-FFF2-40B4-BE49-F238E27FC236}">
                <a16:creationId xmlns:a16="http://schemas.microsoft.com/office/drawing/2014/main" id="{9D70B401-19ED-EADD-496F-F20E533446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319" y="3024570"/>
            <a:ext cx="8245948" cy="5495540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A45EE45C-BF13-E212-13E2-7FE61CFFC140}"/>
              </a:ext>
            </a:extLst>
          </p:cNvPr>
          <p:cNvSpPr txBox="1"/>
          <p:nvPr/>
        </p:nvSpPr>
        <p:spPr>
          <a:xfrm>
            <a:off x="492507" y="2115055"/>
            <a:ext cx="7786238" cy="802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1507846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923" algn="l" defTabSz="1507846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846" algn="l" defTabSz="1507846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768" algn="l" defTabSz="1507846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691" algn="l" defTabSz="1507846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614" algn="l" defTabSz="1507846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3537" algn="l" defTabSz="1507846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7460" algn="l" defTabSz="1507846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1382" algn="l" defTabSz="1507846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7776">
              <a:defRPr/>
            </a:pPr>
            <a:r>
              <a:rPr lang="es-ES" sz="4617" b="1">
                <a:solidFill>
                  <a:srgbClr val="0066FF"/>
                </a:solidFill>
                <a:latin typeface="Telefonica Sans DemiBold" panose="02000003020000060003" pitchFamily="2" charset="0"/>
              </a:rPr>
              <a:t>Samsung Galaxy Tab S9</a:t>
            </a:r>
          </a:p>
        </p:txBody>
      </p:sp>
      <p:pic>
        <p:nvPicPr>
          <p:cNvPr id="15" name="Gráfico 14">
            <a:extLst>
              <a:ext uri="{FF2B5EF4-FFF2-40B4-BE49-F238E27FC236}">
                <a16:creationId xmlns:a16="http://schemas.microsoft.com/office/drawing/2014/main" id="{53AE199B-DCB2-1E32-9685-C32A589DD6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32298" y="1986001"/>
            <a:ext cx="1037061" cy="1053017"/>
          </a:xfrm>
          <a:prstGeom prst="rect">
            <a:avLst/>
          </a:prstGeom>
        </p:spPr>
      </p:pic>
      <p:sp>
        <p:nvSpPr>
          <p:cNvPr id="31" name="Rectángulo 7">
            <a:extLst>
              <a:ext uri="{FF2B5EF4-FFF2-40B4-BE49-F238E27FC236}">
                <a16:creationId xmlns:a16="http://schemas.microsoft.com/office/drawing/2014/main" id="{22CB4AEE-A653-E7C1-6A97-F12F29EAFC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72448" y="3761822"/>
            <a:ext cx="11219102" cy="47119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s-ES"/>
            </a:defPPr>
            <a:lvl1pPr marL="0" algn="l" defTabSz="1507846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923" algn="l" defTabSz="1507846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846" algn="l" defTabSz="1507846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768" algn="l" defTabSz="1507846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691" algn="l" defTabSz="1507846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614" algn="l" defTabSz="1507846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3537" algn="l" defTabSz="1507846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7460" algn="l" defTabSz="1507846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1382" algn="l" defTabSz="1507846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71180" indent="-471180" defTabSz="1507776">
              <a:buFont typeface="Arial" panose="020B0604020202020204" pitchFamily="34" charset="0"/>
              <a:buChar char="•"/>
              <a:defRPr/>
            </a:pPr>
            <a:r>
              <a:rPr lang="es-ES" altLang="es-ES" sz="2309">
                <a:solidFill>
                  <a:srgbClr val="6E7894"/>
                </a:solidFill>
                <a:latin typeface="Telefonica Sans" panose="02000003020000060003" pitchFamily="50" charset="0"/>
                <a:cs typeface="Arial" panose="020B0604020202020204" pitchFamily="34" charset="0"/>
              </a:rPr>
              <a:t>Sistema Operativo: Android 13 con One UI 5,1​.</a:t>
            </a:r>
          </a:p>
          <a:p>
            <a:pPr marL="471180" indent="-471180" defTabSz="1507776">
              <a:buFont typeface="Arial" panose="020B0604020202020204" pitchFamily="34" charset="0"/>
              <a:buChar char="•"/>
              <a:defRPr/>
            </a:pPr>
            <a:r>
              <a:rPr lang="es-ES" altLang="es-ES" sz="2309">
                <a:solidFill>
                  <a:srgbClr val="6E7894"/>
                </a:solidFill>
                <a:latin typeface="Telefonica Sans" panose="02000003020000060003" pitchFamily="50" charset="0"/>
                <a:cs typeface="Arial" panose="020B0604020202020204" pitchFamily="34" charset="0"/>
              </a:rPr>
              <a:t>Pantalla: 11” Dynamic AMOLED 2560x1600, 120Hz. Ofrece la mejor tecnología disponible para trabajar en cualquier lugar. Disfruta de imágenes fluidas, colores más reales y un gran contraste incluso con luz directa del sol.</a:t>
            </a:r>
          </a:p>
          <a:p>
            <a:pPr marL="471180" indent="-471180" defTabSz="1507776">
              <a:buFont typeface="Arial" panose="020B0604020202020204" pitchFamily="34" charset="0"/>
              <a:buChar char="•"/>
              <a:defRPr/>
            </a:pPr>
            <a:r>
              <a:rPr lang="es-ES" altLang="es-ES" sz="2309">
                <a:solidFill>
                  <a:srgbClr val="6E7894"/>
                </a:solidFill>
                <a:latin typeface="Telefonica Sans" panose="02000003020000060003" pitchFamily="50" charset="0"/>
                <a:cs typeface="Arial" panose="020B0604020202020204" pitchFamily="34" charset="0"/>
              </a:rPr>
              <a:t>Procesador: Snapdragon 8 Gen 2 for Galaxy </a:t>
            </a:r>
          </a:p>
          <a:p>
            <a:pPr marL="471180" indent="-471180" defTabSz="1507776">
              <a:buFont typeface="Arial" panose="020B0604020202020204" pitchFamily="34" charset="0"/>
              <a:buChar char="•"/>
              <a:defRPr/>
            </a:pPr>
            <a:r>
              <a:rPr lang="es-ES" altLang="es-ES" sz="2309">
                <a:solidFill>
                  <a:srgbClr val="6E7894"/>
                </a:solidFill>
                <a:latin typeface="Telefonica Sans" panose="02000003020000060003" pitchFamily="50" charset="0"/>
                <a:cs typeface="Arial" panose="020B0604020202020204" pitchFamily="34" charset="0"/>
              </a:rPr>
              <a:t>Cámaras: Tras.: 13 MP Front: 12 Mpx </a:t>
            </a:r>
          </a:p>
          <a:p>
            <a:pPr marL="471180" indent="-471180" defTabSz="1507776">
              <a:buFont typeface="Arial" panose="020B0604020202020204" pitchFamily="34" charset="0"/>
              <a:buChar char="•"/>
              <a:defRPr/>
            </a:pPr>
            <a:r>
              <a:rPr lang="es-ES" altLang="es-ES" sz="2309">
                <a:solidFill>
                  <a:srgbClr val="6E7894"/>
                </a:solidFill>
                <a:latin typeface="Telefonica Sans" panose="02000003020000060003" pitchFamily="50" charset="0"/>
                <a:cs typeface="Arial" panose="020B0604020202020204" pitchFamily="34" charset="0"/>
              </a:rPr>
              <a:t>Memoria: RAM : 8 GB | Interna : 128 GB</a:t>
            </a:r>
          </a:p>
          <a:p>
            <a:pPr marL="471180" indent="-471180" defTabSz="1507776">
              <a:buFont typeface="Arial" panose="020B0604020202020204" pitchFamily="34" charset="0"/>
              <a:buChar char="•"/>
              <a:defRPr/>
            </a:pPr>
            <a:r>
              <a:rPr lang="es-ES" altLang="es-ES" sz="2309">
                <a:solidFill>
                  <a:srgbClr val="6E7894"/>
                </a:solidFill>
                <a:latin typeface="Telefonica Sans" panose="02000003020000060003" pitchFamily="50" charset="0"/>
                <a:cs typeface="Arial" panose="020B0604020202020204" pitchFamily="34" charset="0"/>
              </a:rPr>
              <a:t>Batería: 8.000mAh. Carga 25W. Hasta 15h sin interrupciones. Completa tu día de trabajo sin problemas </a:t>
            </a:r>
          </a:p>
          <a:p>
            <a:pPr marL="471180" indent="-471180" defTabSz="1507776">
              <a:buFont typeface="Arial" panose="020B0604020202020204" pitchFamily="34" charset="0"/>
              <a:buChar char="•"/>
              <a:defRPr/>
            </a:pPr>
            <a:r>
              <a:rPr lang="es-ES" altLang="es-ES" sz="2309">
                <a:solidFill>
                  <a:srgbClr val="6E7894"/>
                </a:solidFill>
                <a:latin typeface="Telefonica Sans" panose="02000003020000060003" pitchFamily="50" charset="0"/>
                <a:cs typeface="Arial" panose="020B0604020202020204" pitchFamily="34" charset="0"/>
              </a:rPr>
              <a:t>Conectividad: USB tipo C 3.1, WiFi 802.11 a/b/g/n/ac 2,4Ghz + 5Ghz BT 5.0 + GPS</a:t>
            </a:r>
          </a:p>
          <a:p>
            <a:pPr marL="471180" indent="-471180" defTabSz="1507776">
              <a:buFont typeface="Arial" panose="020B0604020202020204" pitchFamily="34" charset="0"/>
              <a:buChar char="•"/>
              <a:defRPr/>
            </a:pPr>
            <a:r>
              <a:rPr lang="es-ES" altLang="es-ES" sz="2309">
                <a:solidFill>
                  <a:srgbClr val="6E7894"/>
                </a:solidFill>
                <a:latin typeface="Telefonica Sans" panose="02000003020000060003" pitchFamily="50" charset="0"/>
                <a:cs typeface="Arial" panose="020B0604020202020204" pitchFamily="34" charset="0"/>
              </a:rPr>
              <a:t>Seguridad: Lector de huellas en pantalla</a:t>
            </a:r>
          </a:p>
          <a:p>
            <a:pPr marL="471180" indent="-471180" defTabSz="1507776">
              <a:buFont typeface="Arial" panose="020B0604020202020204" pitchFamily="34" charset="0"/>
              <a:buChar char="•"/>
              <a:defRPr/>
            </a:pPr>
            <a:r>
              <a:rPr lang="es-ES" altLang="es-ES" sz="2309">
                <a:solidFill>
                  <a:srgbClr val="6E7894"/>
                </a:solidFill>
                <a:latin typeface="Telefonica Sans" panose="02000003020000060003" pitchFamily="50" charset="0"/>
                <a:cs typeface="Arial" panose="020B0604020202020204" pitchFamily="34" charset="0"/>
              </a:rPr>
              <a:t>Otros: Resistencia IP68, Smart Switch, Bixby, Samsung Health, Samsung Cloud, Carpeta segura​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60162727-4F67-47C9-14F9-915FFF3373B0}"/>
              </a:ext>
            </a:extLst>
          </p:cNvPr>
          <p:cNvSpPr txBox="1"/>
          <p:nvPr/>
        </p:nvSpPr>
        <p:spPr>
          <a:xfrm>
            <a:off x="3784769" y="8976514"/>
            <a:ext cx="12534563" cy="9042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 rtl="0"/>
            <a:r>
              <a:rPr lang="es-ES" sz="2638" b="1" kern="1200">
                <a:solidFill>
                  <a:srgbClr val="0066FF"/>
                </a:solidFill>
                <a:latin typeface="Arial" panose="020B0604020202020204"/>
                <a:ea typeface="+mn-ea"/>
                <a:cs typeface="Calibri" panose="020F0502020204030204" pitchFamily="34" charset="0"/>
              </a:rPr>
              <a:t>El modelo no será elegible por el cliente, se suministrará en cada caso la mejor opción cumpliendo los requisitos exigidos en el programa</a:t>
            </a:r>
          </a:p>
        </p:txBody>
      </p:sp>
    </p:spTree>
    <p:extLst>
      <p:ext uri="{BB962C8B-B14F-4D97-AF65-F5344CB8AC3E}">
        <p14:creationId xmlns:p14="http://schemas.microsoft.com/office/powerpoint/2010/main" val="13270066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1CEF6549-2CC1-B7F1-AA56-10DE6D1A3E5D}"/>
              </a:ext>
            </a:extLst>
          </p:cNvPr>
          <p:cNvSpPr txBox="1"/>
          <p:nvPr/>
        </p:nvSpPr>
        <p:spPr>
          <a:xfrm>
            <a:off x="2692141" y="370292"/>
            <a:ext cx="19209796" cy="862768"/>
          </a:xfrm>
          <a:prstGeom prst="rect">
            <a:avLst/>
          </a:prstGeom>
        </p:spPr>
        <p:txBody>
          <a:bodyPr vert="horz" lIns="150781" tIns="75390" rIns="150781" bIns="75390" rtlCol="0" anchor="t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1" i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507846" rtl="0">
              <a:defRPr/>
            </a:pPr>
            <a:r>
              <a:rPr lang="es-ES" sz="4400" kern="1200" err="1">
                <a:solidFill>
                  <a:srgbClr val="0066FF"/>
                </a:solidFill>
                <a:latin typeface="Arial" panose="020B0604020202020204"/>
                <a:cs typeface="Calibri" panose="020F0502020204030204" pitchFamily="34" charset="0"/>
              </a:rPr>
              <a:t>Geogestión</a:t>
            </a:r>
            <a:endParaRPr lang="es-ES" sz="4400" kern="1200">
              <a:solidFill>
                <a:srgbClr val="0066FF"/>
              </a:solidFill>
              <a:latin typeface="Arial" panose="020B0604020202020204"/>
              <a:cs typeface="Calibri" panose="020F0502020204030204" pitchFamily="34" charset="0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877D5698-0121-D1E9-E917-B39CD3D83292}"/>
              </a:ext>
            </a:extLst>
          </p:cNvPr>
          <p:cNvSpPr/>
          <p:nvPr/>
        </p:nvSpPr>
        <p:spPr>
          <a:xfrm>
            <a:off x="2175686" y="1098574"/>
            <a:ext cx="13285516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1507785" rtl="0">
              <a:defRPr/>
            </a:pPr>
            <a:r>
              <a:rPr lang="es-ES" sz="3200" b="1" kern="1200">
                <a:solidFill>
                  <a:srgbClr val="586179"/>
                </a:solidFill>
                <a:latin typeface="Calibri"/>
                <a:ea typeface="MS Mincho" panose="02020609040205080304" pitchFamily="49" charset="-128"/>
                <a:cs typeface="+mn-cs"/>
              </a:rPr>
              <a:t>Para tener en una única aplicación toda la información de tus clientes</a:t>
            </a:r>
          </a:p>
        </p:txBody>
      </p:sp>
      <p:pic>
        <p:nvPicPr>
          <p:cNvPr id="7" name="Picture 2" descr="Comprar Galaxy Tab S9 FE y S9 FE Plus | Precio y Ofertas | Samsung España">
            <a:extLst>
              <a:ext uri="{FF2B5EF4-FFF2-40B4-BE49-F238E27FC236}">
                <a16:creationId xmlns:a16="http://schemas.microsoft.com/office/drawing/2014/main" id="{A5387CE8-53F6-A2F3-CF2E-7FEA0500A9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8013448">
            <a:off x="17380997" y="243459"/>
            <a:ext cx="2290995" cy="22909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4C4B809E-CFD8-A952-CC43-C3222D7CD5D6}"/>
              </a:ext>
            </a:extLst>
          </p:cNvPr>
          <p:cNvSpPr txBox="1"/>
          <p:nvPr/>
        </p:nvSpPr>
        <p:spPr>
          <a:xfrm>
            <a:off x="1199221" y="3329047"/>
            <a:ext cx="8856000" cy="6646435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spAutoFit/>
          </a:bodyPr>
          <a:lstStyle/>
          <a:p>
            <a:pPr marL="342900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s-ES" sz="2310" b="1">
                <a:solidFill>
                  <a:srgbClr val="0066FF"/>
                </a:solidFill>
                <a:latin typeface="Telefonica Sans" panose="02000003020000060003" pitchFamily="50" charset="0"/>
              </a:rPr>
              <a:t>Gestión de clientes y actividad comercial:</a:t>
            </a:r>
            <a:r>
              <a:rPr lang="es-ES" sz="2310">
                <a:solidFill>
                  <a:srgbClr val="0066FF"/>
                </a:solidFill>
                <a:latin typeface="Telefonica Sans" panose="02000003020000060003" pitchFamily="50" charset="0"/>
              </a:rPr>
              <a:t> </a:t>
            </a:r>
            <a:r>
              <a:rPr lang="es-ES" sz="2310">
                <a:solidFill>
                  <a:srgbClr val="586179"/>
                </a:solidFill>
                <a:latin typeface="Telefonica Sans" panose="02000003020000060003" pitchFamily="50" charset="0"/>
              </a:rPr>
              <a:t>Clientes potenciales, oportunidades o tareas comerciales.</a:t>
            </a:r>
          </a:p>
          <a:p>
            <a:pPr marL="342900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s-ES" sz="1600">
              <a:solidFill>
                <a:srgbClr val="586179"/>
              </a:solidFill>
              <a:latin typeface="Telefonica Sans" panose="02000003020000060003" pitchFamily="50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2310" b="1">
                <a:solidFill>
                  <a:srgbClr val="0066FF"/>
                </a:solidFill>
                <a:latin typeface="Telefonica Sans" panose="02000003020000060003" pitchFamily="50" charset="0"/>
              </a:rPr>
              <a:t>Seguimiento y </a:t>
            </a:r>
            <a:r>
              <a:rPr lang="es-ES" sz="2310" b="1" err="1">
                <a:solidFill>
                  <a:srgbClr val="0066FF"/>
                </a:solidFill>
                <a:latin typeface="Telefonica Sans" panose="02000003020000060003" pitchFamily="50" charset="0"/>
              </a:rPr>
              <a:t>reporting</a:t>
            </a:r>
            <a:r>
              <a:rPr lang="es-ES" sz="2310" b="1">
                <a:solidFill>
                  <a:srgbClr val="0066FF"/>
                </a:solidFill>
                <a:latin typeface="Telefonica Sans" panose="02000003020000060003" pitchFamily="50" charset="0"/>
              </a:rPr>
              <a:t> de ventas:</a:t>
            </a:r>
            <a:r>
              <a:rPr lang="es-ES" sz="2310">
                <a:solidFill>
                  <a:srgbClr val="0066FF"/>
                </a:solidFill>
                <a:latin typeface="Telefonica Sans" panose="02000003020000060003" pitchFamily="50" charset="0"/>
              </a:rPr>
              <a:t> </a:t>
            </a:r>
            <a:r>
              <a:rPr lang="es-ES" sz="2310">
                <a:solidFill>
                  <a:srgbClr val="586179"/>
                </a:solidFill>
                <a:latin typeface="Telefonica Sans" panose="02000003020000060003" pitchFamily="50" charset="0"/>
              </a:rPr>
              <a:t>Ejecución vs ventas o ciclos de venta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1600">
              <a:solidFill>
                <a:srgbClr val="586179"/>
              </a:solidFill>
              <a:latin typeface="Telefonica Sans" panose="02000003020000060003" pitchFamily="50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2300" b="1">
                <a:solidFill>
                  <a:srgbClr val="0066FF"/>
                </a:solidFill>
                <a:latin typeface="Telefonica Sans"/>
              </a:rPr>
              <a:t>Registro automático</a:t>
            </a:r>
            <a:r>
              <a:rPr lang="es-ES" sz="2300">
                <a:latin typeface="Telefonica Sans"/>
              </a:rPr>
              <a:t> </a:t>
            </a:r>
            <a:r>
              <a:rPr lang="es-ES" sz="2300">
                <a:solidFill>
                  <a:srgbClr val="586179"/>
                </a:solidFill>
                <a:latin typeface="Telefonica Sans"/>
              </a:rPr>
              <a:t> de visitas geolocalizadas y gestión documenta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300">
              <a:solidFill>
                <a:srgbClr val="586179"/>
              </a:solidFill>
              <a:latin typeface="Telefonica Sans"/>
            </a:endParaRPr>
          </a:p>
          <a:p>
            <a:pPr marL="342900" indent="-342900">
              <a:buFont typeface="Arial,Sans-Serif" panose="020B0604020202020204" pitchFamily="34" charset="0"/>
              <a:buChar char="•"/>
            </a:pPr>
            <a:r>
              <a:rPr lang="es-ES" sz="2300" b="1">
                <a:solidFill>
                  <a:srgbClr val="0066FF"/>
                </a:solidFill>
                <a:latin typeface="Telefonica Sans"/>
              </a:rPr>
              <a:t>Gestión de alarmas </a:t>
            </a:r>
            <a:r>
              <a:rPr lang="es-ES" sz="2300">
                <a:solidFill>
                  <a:srgbClr val="586179"/>
                </a:solidFill>
                <a:latin typeface="Telefonica Sans"/>
              </a:rPr>
              <a:t>por </a:t>
            </a:r>
            <a:r>
              <a:rPr lang="es-ES" sz="2300" err="1">
                <a:solidFill>
                  <a:srgbClr val="586179"/>
                </a:solidFill>
                <a:latin typeface="Telefonica Sans"/>
              </a:rPr>
              <a:t>geozonas</a:t>
            </a:r>
            <a:r>
              <a:rPr lang="es-ES" sz="2300">
                <a:solidFill>
                  <a:srgbClr val="586179"/>
                </a:solidFill>
                <a:latin typeface="Telefonica Sans"/>
              </a:rPr>
              <a:t> para detectar posibles situaciones de riesgo</a:t>
            </a:r>
            <a:r>
              <a:rPr lang="en-US" sz="2300">
                <a:solidFill>
                  <a:srgbClr val="586179"/>
                </a:solidFill>
                <a:latin typeface="Telefonica Sans"/>
              </a:rPr>
              <a:t> </a:t>
            </a:r>
          </a:p>
          <a:p>
            <a:endParaRPr lang="en-US" sz="2300">
              <a:solidFill>
                <a:srgbClr val="586179"/>
              </a:solidFill>
              <a:latin typeface="Telefonica Sans"/>
            </a:endParaRPr>
          </a:p>
          <a:p>
            <a:pPr marL="342900" indent="-342900">
              <a:buFont typeface="Arial,Sans-Serif" panose="020B0604020202020204" pitchFamily="34" charset="0"/>
              <a:buChar char="•"/>
            </a:pPr>
            <a:r>
              <a:rPr lang="es-ES" sz="2300" b="1">
                <a:solidFill>
                  <a:srgbClr val="0066FF"/>
                </a:solidFill>
                <a:latin typeface="Telefonica Sans"/>
              </a:rPr>
              <a:t>Fichaje de empleados e informes de jornada laboral</a:t>
            </a:r>
            <a:r>
              <a:rPr lang="en-US" sz="2300" b="1">
                <a:solidFill>
                  <a:srgbClr val="0066FF"/>
                </a:solidFill>
                <a:latin typeface="Telefonica Sans"/>
              </a:rPr>
              <a:t> </a:t>
            </a:r>
            <a:endParaRPr lang="en-US" sz="2300">
              <a:solidFill>
                <a:srgbClr val="586179"/>
              </a:solidFill>
              <a:latin typeface="Telefonica Sans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1600">
              <a:solidFill>
                <a:srgbClr val="586179"/>
              </a:solidFill>
              <a:latin typeface="Telefonica Sans" panose="02000003020000060003" pitchFamily="50" charset="0"/>
            </a:endParaRPr>
          </a:p>
          <a:p>
            <a:pPr marL="342900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s-ES" sz="2310">
                <a:solidFill>
                  <a:srgbClr val="586179"/>
                </a:solidFill>
                <a:latin typeface="Telefonica Sans" panose="02000003020000060003" pitchFamily="50" charset="0"/>
              </a:rPr>
              <a:t>Posibilidad de</a:t>
            </a:r>
            <a:r>
              <a:rPr lang="es-ES" sz="2310">
                <a:latin typeface="Telefonica Sans" panose="02000003020000060003" pitchFamily="50" charset="0"/>
              </a:rPr>
              <a:t> </a:t>
            </a:r>
            <a:r>
              <a:rPr lang="es-ES" sz="2310" b="1">
                <a:solidFill>
                  <a:srgbClr val="0066FF"/>
                </a:solidFill>
                <a:latin typeface="Telefonica Sans" panose="02000003020000060003" pitchFamily="50" charset="0"/>
              </a:rPr>
              <a:t>integración con los principales </a:t>
            </a:r>
            <a:r>
              <a:rPr lang="es-ES" sz="2310" b="1" err="1">
                <a:solidFill>
                  <a:srgbClr val="0066FF"/>
                </a:solidFill>
                <a:latin typeface="Telefonica Sans" panose="02000003020000060003" pitchFamily="50" charset="0"/>
              </a:rPr>
              <a:t>ERPs</a:t>
            </a:r>
            <a:r>
              <a:rPr lang="es-ES" sz="2310" b="1">
                <a:solidFill>
                  <a:srgbClr val="0066FF"/>
                </a:solidFill>
                <a:latin typeface="Telefonica Sans" panose="02000003020000060003" pitchFamily="50" charset="0"/>
              </a:rPr>
              <a:t> </a:t>
            </a:r>
            <a:r>
              <a:rPr lang="es-ES" sz="2310">
                <a:solidFill>
                  <a:srgbClr val="586179"/>
                </a:solidFill>
                <a:latin typeface="Telefonica Sans" panose="02000003020000060003" pitchFamily="50" charset="0"/>
              </a:rPr>
              <a:t>y</a:t>
            </a:r>
            <a:r>
              <a:rPr lang="es-ES" sz="2310">
                <a:latin typeface="Telefonica Sans" panose="02000003020000060003" pitchFamily="50" charset="0"/>
              </a:rPr>
              <a:t> </a:t>
            </a:r>
            <a:r>
              <a:rPr lang="es-ES" sz="2310">
                <a:solidFill>
                  <a:srgbClr val="586179"/>
                </a:solidFill>
                <a:latin typeface="Telefonica Sans" panose="02000003020000060003" pitchFamily="50" charset="0"/>
              </a:rPr>
              <a:t>aplicaciones de negocio más utilizadas (no incluido en el precio).</a:t>
            </a:r>
          </a:p>
          <a:p>
            <a:pPr marL="342900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s-ES" sz="1600">
              <a:solidFill>
                <a:srgbClr val="586179"/>
              </a:solidFill>
              <a:latin typeface="Telefonica Sans" panose="02000003020000060003" pitchFamily="50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2310" b="1">
                <a:solidFill>
                  <a:srgbClr val="0066FF"/>
                </a:solidFill>
                <a:latin typeface="Telefonica Sans" panose="02000003020000060003" pitchFamily="50" charset="0"/>
              </a:rPr>
              <a:t>Solución ligera y optimizada </a:t>
            </a:r>
            <a:r>
              <a:rPr lang="es-ES" sz="2310">
                <a:solidFill>
                  <a:srgbClr val="586179"/>
                </a:solidFill>
                <a:latin typeface="Telefonica Sans" panose="02000003020000060003" pitchFamily="50" charset="0"/>
              </a:rPr>
              <a:t>para trabajar en movilidad (iOS, Android y PC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1600" b="1">
              <a:solidFill>
                <a:srgbClr val="0066FF"/>
              </a:solidFill>
              <a:latin typeface="Telefonica Sans" panose="02000003020000060003" pitchFamily="50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2310">
                <a:solidFill>
                  <a:srgbClr val="586179"/>
                </a:solidFill>
                <a:latin typeface="Telefonica Sans" panose="02000003020000060003" pitchFamily="50" charset="0"/>
              </a:rPr>
              <a:t>Hasta</a:t>
            </a:r>
            <a:r>
              <a:rPr lang="es-ES" sz="2310">
                <a:latin typeface="Telefonica Sans" panose="02000003020000060003" pitchFamily="50" charset="0"/>
              </a:rPr>
              <a:t> </a:t>
            </a:r>
            <a:r>
              <a:rPr lang="es-ES" sz="2310" b="1">
                <a:solidFill>
                  <a:srgbClr val="0066FF"/>
                </a:solidFill>
                <a:latin typeface="Telefonica Sans" panose="02000003020000060003" pitchFamily="50" charset="0"/>
              </a:rPr>
              <a:t>30 horas de parametrización.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BA723BFD-C799-1022-6934-9379FC776D00}"/>
              </a:ext>
            </a:extLst>
          </p:cNvPr>
          <p:cNvSpPr txBox="1"/>
          <p:nvPr/>
        </p:nvSpPr>
        <p:spPr>
          <a:xfrm>
            <a:off x="10777783" y="3335561"/>
            <a:ext cx="8856000" cy="485055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s-ES" sz="2310" b="1">
                <a:solidFill>
                  <a:srgbClr val="0066FF"/>
                </a:solidFill>
                <a:latin typeface="Telefonica Sans" panose="02000003020000060003" pitchFamily="50" charset="0"/>
              </a:rPr>
              <a:t>Maximiza las ventas: </a:t>
            </a:r>
            <a:r>
              <a:rPr lang="es-ES" sz="2310" b="0" i="0">
                <a:solidFill>
                  <a:srgbClr val="586179"/>
                </a:solidFill>
                <a:effectLst/>
                <a:latin typeface="Telefonica Sans" panose="02000003020000060003" pitchFamily="50" charset="0"/>
              </a:rPr>
              <a:t>Un CRM ayuda a aumentar las ventas gracias al conocimiento que ofrece de clientes actuales y potenciales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s-ES" sz="2310" b="0" i="0">
              <a:solidFill>
                <a:srgbClr val="586179"/>
              </a:solidFill>
              <a:effectLst/>
              <a:latin typeface="Telefonica Sans" panose="02000003020000060003" pitchFamily="50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s-ES" sz="2310" b="1">
                <a:solidFill>
                  <a:srgbClr val="0066FF"/>
                </a:solidFill>
                <a:latin typeface="Telefonica Sans" panose="02000003020000060003" pitchFamily="50" charset="0"/>
              </a:rPr>
              <a:t>Mejora los tiempos de respuesta a clientes: </a:t>
            </a:r>
            <a:r>
              <a:rPr lang="es-ES" sz="2310">
                <a:solidFill>
                  <a:srgbClr val="586179"/>
                </a:solidFill>
                <a:latin typeface="Telefonica Sans" panose="02000003020000060003" pitchFamily="50" charset="0"/>
              </a:rPr>
              <a:t>Teniendo centralizada toda la información e interacciones con ellos.</a:t>
            </a:r>
          </a:p>
          <a:p>
            <a:pPr algn="l"/>
            <a:endParaRPr lang="es-ES" sz="1600">
              <a:solidFill>
                <a:srgbClr val="586179"/>
              </a:solidFill>
              <a:latin typeface="Telefonica Sans" panose="02000003020000060003" pitchFamily="50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s-ES" sz="2310" b="1">
                <a:solidFill>
                  <a:srgbClr val="0066FF"/>
                </a:solidFill>
                <a:latin typeface="Telefonica Sans" panose="02000003020000060003" pitchFamily="50" charset="0"/>
              </a:rPr>
              <a:t>Gana eficiencia: </a:t>
            </a:r>
            <a:r>
              <a:rPr lang="es-ES" sz="2310">
                <a:solidFill>
                  <a:srgbClr val="586179"/>
                </a:solidFill>
                <a:latin typeface="Telefonica Sans" panose="02000003020000060003" pitchFamily="50" charset="0"/>
              </a:rPr>
              <a:t>Crea y asigna carteras de clientes de forma dinámica, para que la fuerza comercial visite a los clientes más próximos. Aplicación disponible en movilidad.</a:t>
            </a:r>
          </a:p>
          <a:p>
            <a:pPr algn="l"/>
            <a:endParaRPr lang="es-ES" sz="1600">
              <a:solidFill>
                <a:srgbClr val="586179"/>
              </a:solidFill>
              <a:latin typeface="Telefonica Sans" panose="02000003020000060003" pitchFamily="50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s-ES" sz="2310" b="1">
                <a:solidFill>
                  <a:srgbClr val="0066FF"/>
                </a:solidFill>
                <a:latin typeface="Telefonica Sans" panose="02000003020000060003" pitchFamily="50" charset="0"/>
              </a:rPr>
              <a:t>Información al instante: </a:t>
            </a:r>
            <a:r>
              <a:rPr lang="es-ES" sz="2310">
                <a:solidFill>
                  <a:srgbClr val="586179"/>
                </a:solidFill>
                <a:latin typeface="Telefonica Sans" panose="02000003020000060003" pitchFamily="50" charset="0"/>
              </a:rPr>
              <a:t>Los empleados pueden elaborar informes de forma inmediata tras la visita a cada cliente, registrando así su actividad.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59907A3B-81F4-D92C-80B2-0D687C21A288}"/>
              </a:ext>
            </a:extLst>
          </p:cNvPr>
          <p:cNvSpPr txBox="1"/>
          <p:nvPr/>
        </p:nvSpPr>
        <p:spPr>
          <a:xfrm>
            <a:off x="3101633" y="2261242"/>
            <a:ext cx="3044014" cy="4982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638" b="1" kern="1200">
                <a:solidFill>
                  <a:srgbClr val="6E7893">
                    <a:lumMod val="50000"/>
                  </a:srgbClr>
                </a:solidFill>
                <a:latin typeface="Telefonica Sans DemiBold" panose="02000003020000060003" pitchFamily="50" charset="0"/>
                <a:ea typeface="+mn-ea"/>
                <a:cs typeface="Segoe UI" panose="020B0502040204020203" pitchFamily="34" charset="0"/>
              </a:rPr>
              <a:t>¿Qué incluye?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CF60BAFB-1D4A-7F95-66E6-B3C279ACEB7B}"/>
              </a:ext>
            </a:extLst>
          </p:cNvPr>
          <p:cNvSpPr txBox="1"/>
          <p:nvPr/>
        </p:nvSpPr>
        <p:spPr>
          <a:xfrm>
            <a:off x="12858478" y="2261242"/>
            <a:ext cx="3044014" cy="4982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638" b="1" kern="1200">
                <a:solidFill>
                  <a:srgbClr val="6E7893">
                    <a:lumMod val="50000"/>
                  </a:srgbClr>
                </a:solidFill>
                <a:latin typeface="Telefonica Sans DemiBold" panose="02000003020000060003" pitchFamily="50" charset="0"/>
                <a:ea typeface="+mn-ea"/>
                <a:cs typeface="Segoe UI" panose="020B0502040204020203" pitchFamily="34" charset="0"/>
              </a:rPr>
              <a:t>Beneficios</a:t>
            </a:r>
          </a:p>
        </p:txBody>
      </p:sp>
    </p:spTree>
    <p:extLst>
      <p:ext uri="{BB962C8B-B14F-4D97-AF65-F5344CB8AC3E}">
        <p14:creationId xmlns:p14="http://schemas.microsoft.com/office/powerpoint/2010/main" val="3643731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1CEF6549-2CC1-B7F1-AA56-10DE6D1A3E5D}"/>
              </a:ext>
            </a:extLst>
          </p:cNvPr>
          <p:cNvSpPr txBox="1"/>
          <p:nvPr/>
        </p:nvSpPr>
        <p:spPr>
          <a:xfrm>
            <a:off x="2692141" y="370292"/>
            <a:ext cx="19209796" cy="862768"/>
          </a:xfrm>
          <a:prstGeom prst="rect">
            <a:avLst/>
          </a:prstGeom>
        </p:spPr>
        <p:txBody>
          <a:bodyPr vert="horz" lIns="150781" tIns="75390" rIns="150781" bIns="75390" rtlCol="0" anchor="t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1" i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507846" rtl="0">
              <a:defRPr/>
            </a:pPr>
            <a:r>
              <a:rPr lang="es-ES" sz="4400" kern="1200">
                <a:solidFill>
                  <a:srgbClr val="0066FF"/>
                </a:solidFill>
                <a:latin typeface="Arial" panose="020B0604020202020204"/>
                <a:cs typeface="Calibri"/>
              </a:rPr>
              <a:t>Oficina Virtual</a:t>
            </a:r>
            <a:endParaRPr lang="es-ES" sz="4400" kern="1200">
              <a:solidFill>
                <a:srgbClr val="0066FF"/>
              </a:solidFill>
              <a:latin typeface="Arial" panose="020B0604020202020204"/>
              <a:cs typeface="Calibri" panose="020F0502020204030204" pitchFamily="34" charset="0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877D5698-0121-D1E9-E917-B39CD3D83292}"/>
              </a:ext>
            </a:extLst>
          </p:cNvPr>
          <p:cNvSpPr/>
          <p:nvPr/>
        </p:nvSpPr>
        <p:spPr>
          <a:xfrm>
            <a:off x="2497583" y="1269568"/>
            <a:ext cx="13889242" cy="584775"/>
          </a:xfrm>
          <a:prstGeom prst="rect">
            <a:avLst/>
          </a:prstGeom>
        </p:spPr>
        <p:txBody>
          <a:bodyPr wrap="square" lIns="91440" tIns="45720" rIns="91440" bIns="45720" anchor="ctr">
            <a:spAutoFit/>
          </a:bodyPr>
          <a:lstStyle/>
          <a:p>
            <a:pPr algn="ctr" defTabSz="1507785">
              <a:defRPr/>
            </a:pPr>
            <a:r>
              <a:rPr lang="es-ES" sz="3200" b="1" kern="1200">
                <a:solidFill>
                  <a:srgbClr val="586179"/>
                </a:solidFill>
                <a:latin typeface="Calibri"/>
                <a:ea typeface="MS Mincho"/>
                <a:cs typeface="+mn-cs"/>
              </a:rPr>
              <a:t>Herramientas de </a:t>
            </a:r>
            <a:r>
              <a:rPr lang="es-ES" sz="3200" b="1" kern="1200" err="1">
                <a:solidFill>
                  <a:srgbClr val="586179"/>
                </a:solidFill>
                <a:latin typeface="Calibri"/>
                <a:ea typeface="MS Mincho"/>
                <a:cs typeface="+mn-cs"/>
              </a:rPr>
              <a:t>colaboracion</a:t>
            </a:r>
            <a:r>
              <a:rPr lang="es-ES" sz="3200" b="1" kern="1200">
                <a:solidFill>
                  <a:srgbClr val="586179"/>
                </a:solidFill>
                <a:latin typeface="Calibri"/>
                <a:ea typeface="MS Mincho"/>
                <a:cs typeface="+mn-cs"/>
              </a:rPr>
              <a:t> para disparar tu productividad con Microsoft 365</a:t>
            </a:r>
            <a:endParaRPr lang="es-ES" err="1">
              <a:cs typeface="+mn-cs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4C4B809E-CFD8-A952-CC43-C3222D7CD5D6}"/>
              </a:ext>
            </a:extLst>
          </p:cNvPr>
          <p:cNvSpPr txBox="1"/>
          <p:nvPr/>
        </p:nvSpPr>
        <p:spPr>
          <a:xfrm>
            <a:off x="595664" y="2832537"/>
            <a:ext cx="8856000" cy="7526676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spAutoFit/>
          </a:bodyPr>
          <a:lstStyle/>
          <a:p>
            <a:pPr algn="l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s-ES" sz="2300" b="1">
                <a:solidFill>
                  <a:srgbClr val="0066FF"/>
                </a:solidFill>
                <a:latin typeface="Telefonica Sans"/>
              </a:rPr>
              <a:t>Ofimática en nube y aplicaciones de escritorio </a:t>
            </a:r>
            <a:r>
              <a:rPr lang="es-ES" sz="2300">
                <a:solidFill>
                  <a:srgbClr val="586179"/>
                </a:solidFill>
                <a:latin typeface="Telefonica Sans"/>
              </a:rPr>
              <a:t>(Word, Excel, PowerPoint,…)</a:t>
            </a:r>
          </a:p>
          <a:p>
            <a:pPr algn="l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s-ES" sz="2300">
              <a:solidFill>
                <a:srgbClr val="586179"/>
              </a:solidFill>
              <a:latin typeface="Telefonica Sans"/>
            </a:endParaRPr>
          </a:p>
          <a:p>
            <a:pPr algn="l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s-ES" sz="2300" b="1">
                <a:solidFill>
                  <a:srgbClr val="0066FF"/>
                </a:solidFill>
                <a:latin typeface="Telefonica Sans"/>
              </a:rPr>
              <a:t>Correo profesional </a:t>
            </a:r>
            <a:r>
              <a:rPr lang="es-ES" sz="2300">
                <a:solidFill>
                  <a:srgbClr val="586179"/>
                </a:solidFill>
                <a:latin typeface="Telefonica Sans"/>
              </a:rPr>
              <a:t>(Outlook 50GB), calendario, agenda y planificador de tareas.</a:t>
            </a:r>
          </a:p>
          <a:p>
            <a:pPr algn="l">
              <a:buClr>
                <a:srgbClr val="0066FF"/>
              </a:buClr>
              <a:buFont typeface="Arial" panose="020B0604020202020204" pitchFamily="34" charset="0"/>
              <a:buChar char="•"/>
            </a:pPr>
            <a:endParaRPr lang="es-ES" sz="2300">
              <a:solidFill>
                <a:srgbClr val="586179"/>
              </a:solidFill>
              <a:latin typeface="Telefonica Sans"/>
            </a:endParaRPr>
          </a:p>
          <a:p>
            <a:pPr algn="l">
              <a:buClr>
                <a:srgbClr val="0066FF"/>
              </a:buClr>
              <a:buFont typeface="Arial" panose="020B0604020202020204" pitchFamily="34" charset="0"/>
              <a:buChar char="•"/>
            </a:pPr>
            <a:r>
              <a:rPr lang="es-ES" sz="2300" b="1">
                <a:solidFill>
                  <a:srgbClr val="0066FF"/>
                </a:solidFill>
                <a:latin typeface="Telefonica Sans"/>
              </a:rPr>
              <a:t>Almacenamiento en la nube </a:t>
            </a:r>
            <a:r>
              <a:rPr lang="es-ES" sz="2300">
                <a:solidFill>
                  <a:srgbClr val="586179"/>
                </a:solidFill>
                <a:latin typeface="Telefonica Sans"/>
              </a:rPr>
              <a:t>(SharePoint y OneDrive 1TB) y compartición de archivos.</a:t>
            </a:r>
          </a:p>
          <a:p>
            <a:pPr algn="l">
              <a:buClr>
                <a:srgbClr val="0066FF"/>
              </a:buClr>
              <a:buFont typeface="Arial" panose="020B0604020202020204" pitchFamily="34" charset="0"/>
              <a:buChar char="•"/>
            </a:pPr>
            <a:endParaRPr lang="es-ES" sz="2300">
              <a:solidFill>
                <a:srgbClr val="586179"/>
              </a:solidFill>
              <a:latin typeface="Telefonica Sans"/>
            </a:endParaRPr>
          </a:p>
          <a:p>
            <a:pPr algn="l">
              <a:buClr>
                <a:srgbClr val="0066FF"/>
              </a:buClr>
              <a:buFont typeface="Arial" panose="020B0604020202020204" pitchFamily="34" charset="0"/>
              <a:buChar char="•"/>
            </a:pPr>
            <a:r>
              <a:rPr lang="es-ES" sz="2300" b="1">
                <a:solidFill>
                  <a:srgbClr val="0066FF"/>
                </a:solidFill>
                <a:latin typeface="Telefonica Sans"/>
              </a:rPr>
              <a:t>Colaboración: </a:t>
            </a:r>
            <a:r>
              <a:rPr lang="es-ES" sz="2300">
                <a:solidFill>
                  <a:srgbClr val="586179"/>
                </a:solidFill>
                <a:latin typeface="Telefonica Sans"/>
              </a:rPr>
              <a:t>reuniones virtuales y mensajería instantánea (</a:t>
            </a:r>
            <a:r>
              <a:rPr lang="es-ES" sz="2300" err="1">
                <a:solidFill>
                  <a:srgbClr val="586179"/>
                </a:solidFill>
                <a:latin typeface="Telefonica Sans"/>
              </a:rPr>
              <a:t>Teams</a:t>
            </a:r>
            <a:r>
              <a:rPr lang="es-ES" sz="2300">
                <a:solidFill>
                  <a:srgbClr val="586179"/>
                </a:solidFill>
                <a:latin typeface="Telefonica Sans"/>
              </a:rPr>
              <a:t>), compartición de recursos, flujos de trabajo,</a:t>
            </a:r>
            <a:r>
              <a:rPr lang="es-ES" sz="2300" b="1">
                <a:solidFill>
                  <a:srgbClr val="0066FF"/>
                </a:solidFill>
                <a:latin typeface="Telefonica Sans"/>
              </a:rPr>
              <a:t>…</a:t>
            </a:r>
          </a:p>
          <a:p>
            <a:pPr algn="l">
              <a:buClr>
                <a:srgbClr val="0066FF"/>
              </a:buClr>
              <a:buFont typeface="Arial" panose="020B0604020202020204" pitchFamily="34" charset="0"/>
              <a:buChar char="•"/>
            </a:pPr>
            <a:endParaRPr lang="es-ES" sz="2300" b="1">
              <a:solidFill>
                <a:srgbClr val="0066FF"/>
              </a:solidFill>
              <a:latin typeface="Telefonica Sans"/>
            </a:endParaRPr>
          </a:p>
          <a:p>
            <a:pPr algn="l">
              <a:buClr>
                <a:srgbClr val="0066FF"/>
              </a:buClr>
              <a:buFont typeface="Arial" panose="020B0604020202020204" pitchFamily="34" charset="0"/>
              <a:buChar char="•"/>
            </a:pPr>
            <a:r>
              <a:rPr lang="es-ES" sz="2300" b="1">
                <a:solidFill>
                  <a:srgbClr val="0066FF"/>
                </a:solidFill>
                <a:latin typeface="Telefonica Sans"/>
              </a:rPr>
              <a:t>Copias de seguridad diarias, </a:t>
            </a:r>
            <a:r>
              <a:rPr lang="es-ES" sz="2300">
                <a:solidFill>
                  <a:srgbClr val="586179"/>
                </a:solidFill>
                <a:latin typeface="Telefonica Sans"/>
              </a:rPr>
              <a:t>respaldando la información de las cuentas de M365 de tu empresa.</a:t>
            </a:r>
          </a:p>
          <a:p>
            <a:pPr algn="l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s-ES" sz="2300">
              <a:solidFill>
                <a:srgbClr val="586179"/>
              </a:solidFill>
              <a:latin typeface="Telefonica Sans"/>
            </a:endParaRPr>
          </a:p>
          <a:p>
            <a:pPr algn="l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s-ES" sz="2300" b="1">
                <a:solidFill>
                  <a:srgbClr val="0066FF"/>
                </a:solidFill>
                <a:latin typeface="Telefonica Sans"/>
              </a:rPr>
              <a:t>Restauración de la información  </a:t>
            </a:r>
            <a:r>
              <a:rPr lang="es-ES" sz="2300">
                <a:solidFill>
                  <a:srgbClr val="586179"/>
                </a:solidFill>
                <a:latin typeface="Telefonica Sans"/>
              </a:rPr>
              <a:t>ante borrados accidentales  y monitorización para evitar amenazas externas.</a:t>
            </a:r>
          </a:p>
          <a:p>
            <a:pPr algn="l">
              <a:buClr>
                <a:srgbClr val="0066FF"/>
              </a:buClr>
              <a:buFont typeface="Arial" panose="020B0604020202020204" pitchFamily="34" charset="0"/>
              <a:buChar char="•"/>
            </a:pPr>
            <a:endParaRPr lang="es-ES" sz="2300">
              <a:solidFill>
                <a:srgbClr val="586179"/>
              </a:solidFill>
              <a:latin typeface="Telefonica Sans"/>
            </a:endParaRPr>
          </a:p>
          <a:p>
            <a:pPr algn="l">
              <a:buClr>
                <a:srgbClr val="0066FF"/>
              </a:buClr>
              <a:buFont typeface="Arial" panose="020B0604020202020204" pitchFamily="34" charset="0"/>
              <a:buChar char="•"/>
            </a:pPr>
            <a:r>
              <a:rPr lang="es-ES" sz="2300" b="1">
                <a:solidFill>
                  <a:srgbClr val="0066FF"/>
                </a:solidFill>
                <a:latin typeface="Telefonica Sans"/>
              </a:rPr>
              <a:t>Asistencia personalizada </a:t>
            </a:r>
            <a:r>
              <a:rPr lang="es-ES" sz="2300">
                <a:solidFill>
                  <a:srgbClr val="586179"/>
                </a:solidFill>
                <a:latin typeface="Telefonica Sans"/>
              </a:rPr>
              <a:t>y soporte especializado para ayudarte en la configuración y puesta en marcha de las soluciones</a:t>
            </a:r>
          </a:p>
          <a:p>
            <a:pPr marL="342900" indent="-342900" algn="l">
              <a:buClr>
                <a:srgbClr val="0066FF"/>
              </a:buClr>
              <a:buFont typeface="Arial" panose="020B0604020202020204" pitchFamily="34" charset="0"/>
              <a:buChar char="•"/>
            </a:pPr>
            <a:endParaRPr lang="es-ES" sz="2310" b="1">
              <a:solidFill>
                <a:srgbClr val="0066FF"/>
              </a:solidFill>
              <a:latin typeface="Telefonica Sans" panose="02000003020000060003" pitchFamily="50" charset="0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BA723BFD-C799-1022-6934-9379FC776D00}"/>
              </a:ext>
            </a:extLst>
          </p:cNvPr>
          <p:cNvSpPr txBox="1"/>
          <p:nvPr/>
        </p:nvSpPr>
        <p:spPr>
          <a:xfrm>
            <a:off x="11023453" y="3008121"/>
            <a:ext cx="8856000" cy="6109365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sz="2300" b="1">
                <a:solidFill>
                  <a:srgbClr val="0066FF"/>
                </a:solidFill>
                <a:latin typeface="Telefonica Sans"/>
              </a:rPr>
              <a:t>Se más productivo y eficaz</a:t>
            </a:r>
          </a:p>
          <a:p>
            <a:pPr algn="l"/>
            <a:r>
              <a:rPr lang="es-ES" sz="2300">
                <a:solidFill>
                  <a:srgbClr val="586179"/>
                </a:solidFill>
                <a:latin typeface="Telefonica Sans"/>
              </a:rPr>
              <a:t>Trabaja en equipo y colabora con tus compañeros, proveedores y clientes, compartiendo la información y editándola simultáneamente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s-ES" sz="2300" b="1">
              <a:solidFill>
                <a:srgbClr val="0066FF"/>
              </a:solidFill>
              <a:latin typeface="Telefonica Sans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sz="2300" b="1">
                <a:solidFill>
                  <a:srgbClr val="0066FF"/>
                </a:solidFill>
                <a:latin typeface="Telefonica Sans"/>
              </a:rPr>
              <a:t>Trabaja desde cualquier lugar</a:t>
            </a:r>
          </a:p>
          <a:p>
            <a:pPr algn="l"/>
            <a:r>
              <a:rPr lang="es-ES" sz="2300">
                <a:solidFill>
                  <a:srgbClr val="586179"/>
                </a:solidFill>
                <a:latin typeface="Telefonica Sans"/>
              </a:rPr>
              <a:t>Accede a la información de tu empresa de forma segura y gestiónala estés donde estés.</a:t>
            </a:r>
          </a:p>
          <a:p>
            <a:pPr algn="l"/>
            <a:endParaRPr lang="es-ES" sz="2300">
              <a:solidFill>
                <a:srgbClr val="586179"/>
              </a:solidFill>
              <a:latin typeface="Telefonica Sans"/>
            </a:endParaRPr>
          </a:p>
          <a:p>
            <a:pPr algn="l"/>
            <a:endParaRPr lang="es-ES" sz="2300">
              <a:solidFill>
                <a:srgbClr val="586179"/>
              </a:solidFill>
              <a:latin typeface="Telefonica Sans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sz="2300" b="1">
                <a:solidFill>
                  <a:srgbClr val="0066FF"/>
                </a:solidFill>
                <a:latin typeface="Telefonica Sans"/>
              </a:rPr>
              <a:t>Ahorra tiempo y costes </a:t>
            </a:r>
          </a:p>
          <a:p>
            <a:pPr algn="l"/>
            <a:r>
              <a:rPr lang="es-ES" sz="2300">
                <a:solidFill>
                  <a:srgbClr val="586179"/>
                </a:solidFill>
                <a:latin typeface="Telefonica Sans"/>
              </a:rPr>
              <a:t>Con un único proveedor que conozca tu negocio y resuelva todas tus necesidades.</a:t>
            </a:r>
          </a:p>
          <a:p>
            <a:pPr algn="l"/>
            <a:endParaRPr lang="es-ES" sz="2300">
              <a:solidFill>
                <a:srgbClr val="586179"/>
              </a:solidFill>
              <a:latin typeface="Telefonica Sans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s-ES" sz="2300" b="1">
                <a:solidFill>
                  <a:srgbClr val="0066FF"/>
                </a:solidFill>
                <a:latin typeface="Telefonica Sans"/>
              </a:rPr>
              <a:t>Con total protección de la información </a:t>
            </a:r>
          </a:p>
          <a:p>
            <a:pPr algn="l"/>
            <a:r>
              <a:rPr lang="es-ES" sz="2300">
                <a:solidFill>
                  <a:srgbClr val="586179"/>
                </a:solidFill>
                <a:latin typeface="Telefonica Sans"/>
              </a:rPr>
              <a:t>Frente a imprevistos como el borrado accidental de correos y de ficheros, o amenazas externas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s-ES" sz="2300" b="1">
              <a:solidFill>
                <a:srgbClr val="0066FF"/>
              </a:solidFill>
              <a:latin typeface="Telefonica Sans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59907A3B-81F4-D92C-80B2-0D687C21A288}"/>
              </a:ext>
            </a:extLst>
          </p:cNvPr>
          <p:cNvSpPr txBox="1"/>
          <p:nvPr/>
        </p:nvSpPr>
        <p:spPr>
          <a:xfrm>
            <a:off x="3236206" y="1918817"/>
            <a:ext cx="3044014" cy="4982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638" b="1" kern="1200">
                <a:solidFill>
                  <a:srgbClr val="6E7893">
                    <a:lumMod val="50000"/>
                  </a:srgbClr>
                </a:solidFill>
                <a:latin typeface="Telefonica Sans DemiBold" panose="02000003020000060003" pitchFamily="50" charset="0"/>
                <a:ea typeface="+mn-ea"/>
                <a:cs typeface="Segoe UI" panose="020B0502040204020203" pitchFamily="34" charset="0"/>
              </a:rPr>
              <a:t>¿Qué incluye?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CF60BAFB-1D4A-7F95-66E6-B3C279ACEB7B}"/>
              </a:ext>
            </a:extLst>
          </p:cNvPr>
          <p:cNvSpPr txBox="1"/>
          <p:nvPr/>
        </p:nvSpPr>
        <p:spPr>
          <a:xfrm>
            <a:off x="12702213" y="1918816"/>
            <a:ext cx="3044014" cy="4982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638" b="1" kern="1200">
                <a:solidFill>
                  <a:srgbClr val="6E7893">
                    <a:lumMod val="50000"/>
                  </a:srgbClr>
                </a:solidFill>
                <a:latin typeface="Telefonica Sans DemiBold" panose="02000003020000060003" pitchFamily="50" charset="0"/>
                <a:ea typeface="+mn-ea"/>
                <a:cs typeface="Segoe UI" panose="020B0502040204020203" pitchFamily="34" charset="0"/>
              </a:rPr>
              <a:t>Beneficios</a:t>
            </a: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6BBCE150-F4F1-DE64-2473-157144FFBCA4}"/>
              </a:ext>
            </a:extLst>
          </p:cNvPr>
          <p:cNvGrpSpPr/>
          <p:nvPr/>
        </p:nvGrpSpPr>
        <p:grpSpPr>
          <a:xfrm>
            <a:off x="16046199" y="370431"/>
            <a:ext cx="2803855" cy="2383928"/>
            <a:chOff x="10910578" y="2194419"/>
            <a:chExt cx="2312050" cy="2407442"/>
          </a:xfrm>
        </p:grpSpPr>
        <p:pic>
          <p:nvPicPr>
            <p:cNvPr id="5" name="Imagen 4">
              <a:extLst>
                <a:ext uri="{FF2B5EF4-FFF2-40B4-BE49-F238E27FC236}">
                  <a16:creationId xmlns:a16="http://schemas.microsoft.com/office/drawing/2014/main" id="{9B10CE2C-EA23-D46E-9428-71731D5487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b="24855"/>
            <a:stretch/>
          </p:blipFill>
          <p:spPr>
            <a:xfrm>
              <a:off x="11741585" y="3979737"/>
              <a:ext cx="1475277" cy="622124"/>
            </a:xfrm>
            <a:prstGeom prst="rect">
              <a:avLst/>
            </a:prstGeom>
          </p:spPr>
        </p:pic>
        <p:pic>
          <p:nvPicPr>
            <p:cNvPr id="8" name="Picture 4" descr="Ilustración de rompecabezas que muestra la interconectividad de las aplicaciones dentro de Microsoft 365">
              <a:extLst>
                <a:ext uri="{FF2B5EF4-FFF2-40B4-BE49-F238E27FC236}">
                  <a16:creationId xmlns:a16="http://schemas.microsoft.com/office/drawing/2014/main" id="{5075A83D-7039-AC34-46D4-AFE5FB0B75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10578" y="2194419"/>
              <a:ext cx="2312050" cy="18981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300126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3362AB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3_Portadas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4_Portadas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5_Portadas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ortadas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Portadas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ontenido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Fondo_blanco_color_1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Portadas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ción1" id="{7363D5D3-16D7-4C34-A2CA-6AA8A07EF32B}" vid="{8E4AEC65-F98B-4C45-A4FD-9A1ECA65A37A}"/>
    </a:ext>
  </a:extLst>
</a:theme>
</file>

<file path=ppt/theme/theme7.xml><?xml version="1.0" encoding="utf-8"?>
<a:theme xmlns:a="http://schemas.openxmlformats.org/drawingml/2006/main" name="2_Indices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Separadores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3_Indices">
  <a:themeElements>
    <a:clrScheme name="Telefonica">
      <a:dk1>
        <a:srgbClr val="586179"/>
      </a:dk1>
      <a:lt1>
        <a:srgbClr val="FFFFFF"/>
      </a:lt1>
      <a:dk2>
        <a:srgbClr val="0066FF"/>
      </a:dk2>
      <a:lt2>
        <a:srgbClr val="F1F4FF"/>
      </a:lt2>
      <a:accent1>
        <a:srgbClr val="6E7893"/>
      </a:accent1>
      <a:accent2>
        <a:srgbClr val="7C877C"/>
      </a:accent2>
      <a:accent3>
        <a:srgbClr val="9D83A3"/>
      </a:accent3>
      <a:accent4>
        <a:srgbClr val="807477"/>
      </a:accent4>
      <a:accent5>
        <a:srgbClr val="E66C64"/>
      </a:accent5>
      <a:accent6>
        <a:srgbClr val="EAC344"/>
      </a:accent6>
      <a:hlink>
        <a:srgbClr val="59C2C9"/>
      </a:hlink>
      <a:folHlink>
        <a:srgbClr val="C366E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0de4833-d71e-4493-9043-88e01625c2f4">
      <Terms xmlns="http://schemas.microsoft.com/office/infopath/2007/PartnerControls"/>
    </lcf76f155ced4ddcb4097134ff3c332f>
    <TaxCatchAll xmlns="9a9d6da1-c010-4857-a857-6ca3e0fa8522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7BAB426DE767E498A62136AF63A8136" ma:contentTypeVersion="15" ma:contentTypeDescription="Create a new document." ma:contentTypeScope="" ma:versionID="984eacb5b8f0cbff01186d8bb3834217">
  <xsd:schema xmlns:xsd="http://www.w3.org/2001/XMLSchema" xmlns:xs="http://www.w3.org/2001/XMLSchema" xmlns:p="http://schemas.microsoft.com/office/2006/metadata/properties" xmlns:ns2="60de4833-d71e-4493-9043-88e01625c2f4" xmlns:ns3="9a9d6da1-c010-4857-a857-6ca3e0fa8522" targetNamespace="http://schemas.microsoft.com/office/2006/metadata/properties" ma:root="true" ma:fieldsID="4745e2b017ab3fe752750bd21fc905ee" ns2:_="" ns3:_="">
    <xsd:import namespace="60de4833-d71e-4493-9043-88e01625c2f4"/>
    <xsd:import namespace="9a9d6da1-c010-4857-a857-6ca3e0fa852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de4833-d71e-4493-9043-88e01625c2f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3ebd722c-8eea-4fa2-a257-8118360c8ea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9d6da1-c010-4857-a857-6ca3e0fa852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d69fb8fe-e470-496f-8e8c-6cdddf961f63}" ma:internalName="TaxCatchAll" ma:showField="CatchAllData" ma:web="9a9d6da1-c010-4857-a857-6ca3e0fa852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FD71D12-4404-4F45-AA1E-B6F9F1CBBB3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F488FB5-5B8A-4E77-8E9C-8AF9E93D4347}">
  <ds:schemaRefs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60de4833-d71e-4493-9043-88e01625c2f4"/>
    <ds:schemaRef ds:uri="http://schemas.microsoft.com/office/2006/documentManagement/types"/>
    <ds:schemaRef ds:uri="9a9d6da1-c010-4857-a857-6ca3e0fa8522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6BDC272-01CB-48EC-ADB8-943167E035C1}">
  <ds:schemaRefs>
    <ds:schemaRef ds:uri="60de4833-d71e-4493-9043-88e01625c2f4"/>
    <ds:schemaRef ds:uri="9a9d6da1-c010-4857-a857-6ca3e0fa852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9744600e-3e04-492e-baa1-25ec245c6f10}" enabled="0" method="" siteId="{9744600e-3e04-492e-baa1-25ec245c6f1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5</TotalTime>
  <Words>2519</Words>
  <Application>Microsoft Office PowerPoint</Application>
  <PresentationFormat>Personalizado</PresentationFormat>
  <Paragraphs>321</Paragraphs>
  <Slides>20</Slides>
  <Notes>11</Notes>
  <HiddenSlides>0</HiddenSlides>
  <MMClips>0</MMClips>
  <ScaleCrop>false</ScaleCrop>
  <HeadingPairs>
    <vt:vector size="8" baseType="variant">
      <vt:variant>
        <vt:lpstr>Fuentes usadas</vt:lpstr>
      </vt:variant>
      <vt:variant>
        <vt:i4>15</vt:i4>
      </vt:variant>
      <vt:variant>
        <vt:lpstr>Tema</vt:lpstr>
      </vt:variant>
      <vt:variant>
        <vt:i4>1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0</vt:i4>
      </vt:variant>
    </vt:vector>
  </HeadingPairs>
  <TitlesOfParts>
    <vt:vector size="48" baseType="lpstr">
      <vt:lpstr>Arial</vt:lpstr>
      <vt:lpstr>Arial Regular</vt:lpstr>
      <vt:lpstr>Arial,Sans-Serif</vt:lpstr>
      <vt:lpstr>Calibri</vt:lpstr>
      <vt:lpstr>Century Gothic</vt:lpstr>
      <vt:lpstr>Courier New</vt:lpstr>
      <vt:lpstr>Palatino Linotype</vt:lpstr>
      <vt:lpstr>Telefonica</vt:lpstr>
      <vt:lpstr>Telefonica Hand</vt:lpstr>
      <vt:lpstr>Telefonica Sans</vt:lpstr>
      <vt:lpstr>Telefonica Sans DemiBold</vt:lpstr>
      <vt:lpstr>Telefonica Sans Light</vt:lpstr>
      <vt:lpstr>Telefonica Sans Medium</vt:lpstr>
      <vt:lpstr>Telefonica Sans semibold</vt:lpstr>
      <vt:lpstr>Wingdings</vt:lpstr>
      <vt:lpstr>Office Theme</vt:lpstr>
      <vt:lpstr>Portadas</vt:lpstr>
      <vt:lpstr>1_Portadas</vt:lpstr>
      <vt:lpstr>Contenido</vt:lpstr>
      <vt:lpstr>1_Fondo_blanco_color_1</vt:lpstr>
      <vt:lpstr>2_Portadas</vt:lpstr>
      <vt:lpstr>2_Indices</vt:lpstr>
      <vt:lpstr>Separadores</vt:lpstr>
      <vt:lpstr>3_Indices</vt:lpstr>
      <vt:lpstr>3_Portadas</vt:lpstr>
      <vt:lpstr>4_Portadas</vt:lpstr>
      <vt:lpstr>5_Portadas</vt:lpstr>
      <vt:lpstr>Diapositiva de think-cell</vt:lpstr>
      <vt:lpstr>Un paso más en la digitalización con los Fondos Europeos</vt:lpstr>
      <vt:lpstr> FASE III KIT DIGITAL,</vt:lpstr>
      <vt:lpstr>Presentación de PowerPoint</vt:lpstr>
      <vt:lpstr>OFERT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En un entorno web personalizado para la Asociación</vt:lpstr>
      <vt:lpstr>KIT DIGITAL ES UN PROCESO CON DIVERSAS FASES E HITOS A COMPLETAR</vt:lpstr>
      <vt:lpstr>TE LO PONEMOS FÁCIL: la gestión del Bono con Telefónica y el acompañamiento de tu Asociación en todo momento </vt:lpstr>
      <vt:lpstr>COMPROMISOS DEL CLIENTE CON KIT DIGITAL</vt:lpstr>
      <vt:lpstr>Presentación de PowerPoint</vt:lpstr>
      <vt:lpstr>ENTORNOS WEB PERSONALIZADOS </vt:lpstr>
      <vt:lpstr>ENTORNOS WEB PERSONALIZADOS: SOLICITUD </vt:lpstr>
      <vt:lpstr>ENTORNOS WEB PERSONALIZADOS: recopilación de datos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1072024_Presentacion_Generica_01</dc:title>
  <dc:creator>DANIEL ANDRES CORSIN</dc:creator>
  <cp:lastModifiedBy>JOSE MARIA PINILLA VELAZQUEZ</cp:lastModifiedBy>
  <cp:revision>1</cp:revision>
  <dcterms:created xsi:type="dcterms:W3CDTF">2024-07-11T12:00:03Z</dcterms:created>
  <dcterms:modified xsi:type="dcterms:W3CDTF">2024-09-17T17:5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4-07-11T00:00:00Z</vt:filetime>
  </property>
  <property fmtid="{D5CDD505-2E9C-101B-9397-08002B2CF9AE}" pid="3" name="Creator">
    <vt:lpwstr>Adobe Illustrator 27.8 (Windows)</vt:lpwstr>
  </property>
  <property fmtid="{D5CDD505-2E9C-101B-9397-08002B2CF9AE}" pid="4" name="CreatorVersion">
    <vt:lpwstr>21.0.0</vt:lpwstr>
  </property>
  <property fmtid="{D5CDD505-2E9C-101B-9397-08002B2CF9AE}" pid="5" name="LastSaved">
    <vt:filetime>2024-07-11T00:00:00Z</vt:filetime>
  </property>
  <property fmtid="{D5CDD505-2E9C-101B-9397-08002B2CF9AE}" pid="6" name="Producer">
    <vt:lpwstr>Adobe PDF library 17.00</vt:lpwstr>
  </property>
  <property fmtid="{D5CDD505-2E9C-101B-9397-08002B2CF9AE}" pid="7" name="ContentTypeId">
    <vt:lpwstr>0x01010047BAB426DE767E498A62136AF63A8136</vt:lpwstr>
  </property>
  <property fmtid="{D5CDD505-2E9C-101B-9397-08002B2CF9AE}" pid="8" name="MediaServiceImageTags">
    <vt:lpwstr/>
  </property>
</Properties>
</file>